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84" r:id="rId5"/>
  </p:sldMasterIdLst>
  <p:notesMasterIdLst>
    <p:notesMasterId r:id="rId45"/>
  </p:notesMasterIdLst>
  <p:handoutMasterIdLst>
    <p:handoutMasterId r:id="rId46"/>
  </p:handoutMasterIdLst>
  <p:sldIdLst>
    <p:sldId id="2076137166" r:id="rId6"/>
    <p:sldId id="367" r:id="rId7"/>
    <p:sldId id="299" r:id="rId8"/>
    <p:sldId id="2076137167" r:id="rId9"/>
    <p:sldId id="2076137168" r:id="rId10"/>
    <p:sldId id="2076137170" r:id="rId11"/>
    <p:sldId id="2076137171" r:id="rId12"/>
    <p:sldId id="2076137172" r:id="rId13"/>
    <p:sldId id="2076137173" r:id="rId14"/>
    <p:sldId id="2076137174" r:id="rId15"/>
    <p:sldId id="2076137175" r:id="rId16"/>
    <p:sldId id="2076137176" r:id="rId17"/>
    <p:sldId id="2076137177" r:id="rId18"/>
    <p:sldId id="2076137178" r:id="rId19"/>
    <p:sldId id="2076137179" r:id="rId20"/>
    <p:sldId id="2076137181" r:id="rId21"/>
    <p:sldId id="2076137182" r:id="rId22"/>
    <p:sldId id="2076137183" r:id="rId23"/>
    <p:sldId id="2076137184" r:id="rId24"/>
    <p:sldId id="2076137185" r:id="rId25"/>
    <p:sldId id="2076137186" r:id="rId26"/>
    <p:sldId id="2076137188" r:id="rId27"/>
    <p:sldId id="2076137189" r:id="rId28"/>
    <p:sldId id="2076137191" r:id="rId29"/>
    <p:sldId id="2076137192" r:id="rId30"/>
    <p:sldId id="2076137190" r:id="rId31"/>
    <p:sldId id="2076137193" r:id="rId32"/>
    <p:sldId id="2076137194" r:id="rId33"/>
    <p:sldId id="2076137195" r:id="rId34"/>
    <p:sldId id="2076137197" r:id="rId35"/>
    <p:sldId id="2076137198" r:id="rId36"/>
    <p:sldId id="2076137199" r:id="rId37"/>
    <p:sldId id="2076137200" r:id="rId38"/>
    <p:sldId id="2076137201" r:id="rId39"/>
    <p:sldId id="2076137203" r:id="rId40"/>
    <p:sldId id="2076137202" r:id="rId41"/>
    <p:sldId id="2076137204" r:id="rId42"/>
    <p:sldId id="2076137205" r:id="rId43"/>
    <p:sldId id="316" r:id="rId44"/>
  </p:sldIdLst>
  <p:sldSz cx="11520488" cy="6480175"/>
  <p:notesSz cx="6858000" cy="9144000"/>
  <p:custDataLst>
    <p:tags r:id="rId4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Eröffnung" id="{56D1F49A-222D-EC45-9BC9-2E236F503255}">
          <p14:sldIdLst>
            <p14:sldId id="2076137166"/>
          </p14:sldIdLst>
        </p14:section>
        <p14:section name="Agenda" id="{ADA9D0A8-4F02-2E42-9C91-396C56AC521A}">
          <p14:sldIdLst>
            <p14:sldId id="367"/>
          </p14:sldIdLst>
        </p14:section>
        <p14:section name="Text" id="{3CE83623-D5EC-034E-9298-CE5D7844CD8B}">
          <p14:sldIdLst>
            <p14:sldId id="299"/>
            <p14:sldId id="2076137167"/>
            <p14:sldId id="2076137168"/>
            <p14:sldId id="2076137170"/>
            <p14:sldId id="2076137171"/>
            <p14:sldId id="2076137172"/>
            <p14:sldId id="2076137173"/>
            <p14:sldId id="2076137174"/>
            <p14:sldId id="2076137175"/>
            <p14:sldId id="2076137176"/>
            <p14:sldId id="2076137177"/>
            <p14:sldId id="2076137178"/>
            <p14:sldId id="2076137179"/>
            <p14:sldId id="2076137181"/>
            <p14:sldId id="2076137182"/>
            <p14:sldId id="2076137183"/>
            <p14:sldId id="2076137184"/>
            <p14:sldId id="2076137185"/>
            <p14:sldId id="2076137186"/>
            <p14:sldId id="2076137188"/>
            <p14:sldId id="2076137189"/>
            <p14:sldId id="2076137191"/>
            <p14:sldId id="2076137192"/>
            <p14:sldId id="2076137190"/>
            <p14:sldId id="2076137193"/>
            <p14:sldId id="2076137194"/>
            <p14:sldId id="2076137195"/>
            <p14:sldId id="2076137197"/>
            <p14:sldId id="2076137198"/>
            <p14:sldId id="2076137199"/>
            <p14:sldId id="2076137200"/>
            <p14:sldId id="2076137201"/>
            <p14:sldId id="2076137203"/>
            <p14:sldId id="2076137202"/>
            <p14:sldId id="2076137204"/>
            <p14:sldId id="2076137205"/>
          </p14:sldIdLst>
        </p14:section>
        <p14:section name="Schlussfolie" id="{499BC0D1-DB24-0D42-BC5E-886808F2C6B0}">
          <p14:sldIdLst>
            <p14:sldId id="316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chindler, Diana" initials="SD" lastIdx="1" clrIdx="0">
    <p:extLst>
      <p:ext uri="{19B8F6BF-5375-455C-9EA6-DF929625EA0E}">
        <p15:presenceInfo xmlns:p15="http://schemas.microsoft.com/office/powerpoint/2012/main" userId="S::diana.schindler@adesso.de::5d2d35c8-52b3-424f-9285-822ca605bab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300"/>
    <a:srgbClr val="006EC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/>
    <p:restoredTop sz="94694"/>
  </p:normalViewPr>
  <p:slideViewPr>
    <p:cSldViewPr snapToGrid="0">
      <p:cViewPr varScale="1">
        <p:scale>
          <a:sx n="111" d="100"/>
          <a:sy n="111" d="100"/>
        </p:scale>
        <p:origin x="79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tags" Target="tags/tag1.xml"/><Relationship Id="rId50" Type="http://schemas.openxmlformats.org/officeDocument/2006/relationships/viewProps" Target="viewProp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notesMaster" Target="notesMasters/notesMaster1.xml"/><Relationship Id="rId53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commentAuthors" Target="commentAuthors.xml"/><Relationship Id="rId8" Type="http://schemas.openxmlformats.org/officeDocument/2006/relationships/slide" Target="slides/slide3.xml"/><Relationship Id="rId51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handoutMaster" Target="handoutMasters/handoutMaster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krybski, Kirsten" userId="d624a791-4d2f-4179-a30d-467d5d24e006" providerId="ADAL" clId="{4469B53E-CB6D-C644-AFC8-8815C50A545D}"/>
    <pc:docChg chg="undo custSel addSld modSld sldOrd modSection">
      <pc:chgData name="Skrybski, Kirsten" userId="d624a791-4d2f-4179-a30d-467d5d24e006" providerId="ADAL" clId="{4469B53E-CB6D-C644-AFC8-8815C50A545D}" dt="2023-11-29T10:21:07.398" v="233"/>
      <pc:docMkLst>
        <pc:docMk/>
      </pc:docMkLst>
      <pc:sldChg chg="modSp mod">
        <pc:chgData name="Skrybski, Kirsten" userId="d624a791-4d2f-4179-a30d-467d5d24e006" providerId="ADAL" clId="{4469B53E-CB6D-C644-AFC8-8815C50A545D}" dt="2023-11-29T10:13:43.212" v="3" actId="20577"/>
        <pc:sldMkLst>
          <pc:docMk/>
          <pc:sldMk cId="1869436095" sldId="365"/>
        </pc:sldMkLst>
        <pc:spChg chg="mod">
          <ac:chgData name="Skrybski, Kirsten" userId="d624a791-4d2f-4179-a30d-467d5d24e006" providerId="ADAL" clId="{4469B53E-CB6D-C644-AFC8-8815C50A545D}" dt="2023-11-29T10:13:43.212" v="3" actId="20577"/>
          <ac:spMkLst>
            <pc:docMk/>
            <pc:sldMk cId="1869436095" sldId="365"/>
            <ac:spMk id="2" creationId="{D22D1DC9-433E-4FF0-8202-6C7B61CF02C1}"/>
          </ac:spMkLst>
        </pc:spChg>
      </pc:sldChg>
      <pc:sldChg chg="modSp mod">
        <pc:chgData name="Skrybski, Kirsten" userId="d624a791-4d2f-4179-a30d-467d5d24e006" providerId="ADAL" clId="{4469B53E-CB6D-C644-AFC8-8815C50A545D}" dt="2023-11-29T10:21:07.398" v="233"/>
        <pc:sldMkLst>
          <pc:docMk/>
          <pc:sldMk cId="1496990346" sldId="366"/>
        </pc:sldMkLst>
        <pc:spChg chg="mod">
          <ac:chgData name="Skrybski, Kirsten" userId="d624a791-4d2f-4179-a30d-467d5d24e006" providerId="ADAL" clId="{4469B53E-CB6D-C644-AFC8-8815C50A545D}" dt="2023-11-29T10:21:07.398" v="233"/>
          <ac:spMkLst>
            <pc:docMk/>
            <pc:sldMk cId="1496990346" sldId="366"/>
            <ac:spMk id="3" creationId="{2D6D02A2-46F7-4D2F-805B-84D9026656A6}"/>
          </ac:spMkLst>
        </pc:spChg>
      </pc:sldChg>
      <pc:sldChg chg="delSp modSp add mod ord">
        <pc:chgData name="Skrybski, Kirsten" userId="d624a791-4d2f-4179-a30d-467d5d24e006" providerId="ADAL" clId="{4469B53E-CB6D-C644-AFC8-8815C50A545D}" dt="2023-11-29T10:17:35.502" v="218" actId="20578"/>
        <pc:sldMkLst>
          <pc:docMk/>
          <pc:sldMk cId="701899504" sldId="2076137171"/>
        </pc:sldMkLst>
        <pc:spChg chg="mod">
          <ac:chgData name="Skrybski, Kirsten" userId="d624a791-4d2f-4179-a30d-467d5d24e006" providerId="ADAL" clId="{4469B53E-CB6D-C644-AFC8-8815C50A545D}" dt="2023-11-29T10:14:48.537" v="45" actId="20577"/>
          <ac:spMkLst>
            <pc:docMk/>
            <pc:sldMk cId="701899504" sldId="2076137171"/>
            <ac:spMk id="2" creationId="{D22D1DC9-433E-4FF0-8202-6C7B61CF02C1}"/>
          </ac:spMkLst>
        </pc:spChg>
        <pc:spChg chg="mod">
          <ac:chgData name="Skrybski, Kirsten" userId="d624a791-4d2f-4179-a30d-467d5d24e006" providerId="ADAL" clId="{4469B53E-CB6D-C644-AFC8-8815C50A545D}" dt="2023-11-29T10:15:38.367" v="100" actId="20577"/>
          <ac:spMkLst>
            <pc:docMk/>
            <pc:sldMk cId="701899504" sldId="2076137171"/>
            <ac:spMk id="10" creationId="{FD46C6B6-1F9D-47F3-98B2-9EF8CFF673CE}"/>
          </ac:spMkLst>
        </pc:spChg>
        <pc:spChg chg="mod">
          <ac:chgData name="Skrybski, Kirsten" userId="d624a791-4d2f-4179-a30d-467d5d24e006" providerId="ADAL" clId="{4469B53E-CB6D-C644-AFC8-8815C50A545D}" dt="2023-11-29T10:16:01.463" v="142" actId="20577"/>
          <ac:spMkLst>
            <pc:docMk/>
            <pc:sldMk cId="701899504" sldId="2076137171"/>
            <ac:spMk id="12" creationId="{FF17CA87-48AB-4DE8-B57B-27DA743F66BE}"/>
          </ac:spMkLst>
        </pc:spChg>
        <pc:spChg chg="mod">
          <ac:chgData name="Skrybski, Kirsten" userId="d624a791-4d2f-4179-a30d-467d5d24e006" providerId="ADAL" clId="{4469B53E-CB6D-C644-AFC8-8815C50A545D}" dt="2023-11-29T10:16:28.296" v="192" actId="20577"/>
          <ac:spMkLst>
            <pc:docMk/>
            <pc:sldMk cId="701899504" sldId="2076137171"/>
            <ac:spMk id="13" creationId="{C9B8EAB8-1528-402F-8AF1-09BC66936D94}"/>
          </ac:spMkLst>
        </pc:spChg>
        <pc:spChg chg="del mod">
          <ac:chgData name="Skrybski, Kirsten" userId="d624a791-4d2f-4179-a30d-467d5d24e006" providerId="ADAL" clId="{4469B53E-CB6D-C644-AFC8-8815C50A545D}" dt="2023-11-29T10:16:52.842" v="216" actId="478"/>
          <ac:spMkLst>
            <pc:docMk/>
            <pc:sldMk cId="701899504" sldId="2076137171"/>
            <ac:spMk id="14" creationId="{6B5539CB-92BB-4E6F-AE24-72DB1334A3AC}"/>
          </ac:spMkLst>
        </pc:spChg>
      </pc:sldChg>
    </pc:docChg>
  </pc:docChgLst>
  <pc:docChgLst>
    <pc:chgData name="Hosseini, Len" userId="257dab61-9112-4a3b-aaac-2f3316e10346" providerId="ADAL" clId="{854215F8-9672-5C48-9C5A-4DE7B6A10E30}"/>
    <pc:docChg chg="undo custSel modSld">
      <pc:chgData name="Hosseini, Len" userId="257dab61-9112-4a3b-aaac-2f3316e10346" providerId="ADAL" clId="{854215F8-9672-5C48-9C5A-4DE7B6A10E30}" dt="2024-02-04T23:39:07.160" v="14"/>
      <pc:docMkLst>
        <pc:docMk/>
      </pc:docMkLst>
      <pc:sldChg chg="addSp delSp modSp mod">
        <pc:chgData name="Hosseini, Len" userId="257dab61-9112-4a3b-aaac-2f3316e10346" providerId="ADAL" clId="{854215F8-9672-5C48-9C5A-4DE7B6A10E30}" dt="2024-02-04T20:31:11.176" v="5" actId="403"/>
        <pc:sldMkLst>
          <pc:docMk/>
          <pc:sldMk cId="1947822114" sldId="358"/>
        </pc:sldMkLst>
        <pc:spChg chg="add del mod">
          <ac:chgData name="Hosseini, Len" userId="257dab61-9112-4a3b-aaac-2f3316e10346" providerId="ADAL" clId="{854215F8-9672-5C48-9C5A-4DE7B6A10E30}" dt="2024-02-04T20:28:29.155" v="3"/>
          <ac:spMkLst>
            <pc:docMk/>
            <pc:sldMk cId="1947822114" sldId="358"/>
            <ac:spMk id="5" creationId="{D7B9AC9D-1DB6-6A9C-6ABF-2E1E6806481B}"/>
          </ac:spMkLst>
        </pc:spChg>
        <pc:spChg chg="mod">
          <ac:chgData name="Hosseini, Len" userId="257dab61-9112-4a3b-aaac-2f3316e10346" providerId="ADAL" clId="{854215F8-9672-5C48-9C5A-4DE7B6A10E30}" dt="2024-02-04T20:31:11.176" v="5" actId="403"/>
          <ac:spMkLst>
            <pc:docMk/>
            <pc:sldMk cId="1947822114" sldId="358"/>
            <ac:spMk id="8" creationId="{33D73DC7-D07D-42C1-94A5-4EB7D6B47B1E}"/>
          </ac:spMkLst>
        </pc:spChg>
      </pc:sldChg>
      <pc:sldChg chg="addSp delSp modSp mod">
        <pc:chgData name="Hosseini, Len" userId="257dab61-9112-4a3b-aaac-2f3316e10346" providerId="ADAL" clId="{854215F8-9672-5C48-9C5A-4DE7B6A10E30}" dt="2024-02-04T21:53:17.919" v="11"/>
        <pc:sldMkLst>
          <pc:docMk/>
          <pc:sldMk cId="3092214427" sldId="2076137151"/>
        </pc:sldMkLst>
        <pc:spChg chg="add del mod">
          <ac:chgData name="Hosseini, Len" userId="257dab61-9112-4a3b-aaac-2f3316e10346" providerId="ADAL" clId="{854215F8-9672-5C48-9C5A-4DE7B6A10E30}" dt="2024-02-04T21:53:16.381" v="9"/>
          <ac:spMkLst>
            <pc:docMk/>
            <pc:sldMk cId="3092214427" sldId="2076137151"/>
            <ac:spMk id="2" creationId="{DF3D333C-D368-1483-9C47-FAD2F1ACEE3B}"/>
          </ac:spMkLst>
        </pc:spChg>
        <pc:spChg chg="add del mod">
          <ac:chgData name="Hosseini, Len" userId="257dab61-9112-4a3b-aaac-2f3316e10346" providerId="ADAL" clId="{854215F8-9672-5C48-9C5A-4DE7B6A10E30}" dt="2024-02-04T21:53:17.919" v="11"/>
          <ac:spMkLst>
            <pc:docMk/>
            <pc:sldMk cId="3092214427" sldId="2076137151"/>
            <ac:spMk id="3" creationId="{7AE24451-7B76-CE72-C31B-E539D856A093}"/>
          </ac:spMkLst>
        </pc:spChg>
      </pc:sldChg>
      <pc:sldChg chg="addSp modSp">
        <pc:chgData name="Hosseini, Len" userId="257dab61-9112-4a3b-aaac-2f3316e10346" providerId="ADAL" clId="{854215F8-9672-5C48-9C5A-4DE7B6A10E30}" dt="2024-02-04T17:21:12.197" v="0" actId="571"/>
        <pc:sldMkLst>
          <pc:docMk/>
          <pc:sldMk cId="635101242" sldId="2076137166"/>
        </pc:sldMkLst>
        <pc:picChg chg="add mod">
          <ac:chgData name="Hosseini, Len" userId="257dab61-9112-4a3b-aaac-2f3316e10346" providerId="ADAL" clId="{854215F8-9672-5C48-9C5A-4DE7B6A10E30}" dt="2024-02-04T17:21:12.197" v="0" actId="571"/>
          <ac:picMkLst>
            <pc:docMk/>
            <pc:sldMk cId="635101242" sldId="2076137166"/>
            <ac:picMk id="4" creationId="{7B8F59A3-59CF-1C56-1F79-B2CCE9E1B4BD}"/>
          </ac:picMkLst>
        </pc:picChg>
      </pc:sldChg>
      <pc:sldChg chg="addSp delSp modSp mod">
        <pc:chgData name="Hosseini, Len" userId="257dab61-9112-4a3b-aaac-2f3316e10346" providerId="ADAL" clId="{854215F8-9672-5C48-9C5A-4DE7B6A10E30}" dt="2024-02-04T23:39:07.160" v="14"/>
        <pc:sldMkLst>
          <pc:docMk/>
          <pc:sldMk cId="3255405018" sldId="2076137169"/>
        </pc:sldMkLst>
        <pc:spChg chg="add del mod">
          <ac:chgData name="Hosseini, Len" userId="257dab61-9112-4a3b-aaac-2f3316e10346" providerId="ADAL" clId="{854215F8-9672-5C48-9C5A-4DE7B6A10E30}" dt="2024-02-04T23:39:07.160" v="14"/>
          <ac:spMkLst>
            <pc:docMk/>
            <pc:sldMk cId="3255405018" sldId="2076137169"/>
            <ac:spMk id="6" creationId="{5062D595-3002-2DF0-3209-5BC595C40F84}"/>
          </ac:spMkLst>
        </pc:spChg>
      </pc:sldChg>
    </pc:docChg>
  </pc:docChgLst>
  <pc:docChgLst>
    <pc:chgData name="Daume, Daniel" userId="S::daniel.daume@adesso.de::fb20ccc6-12f4-49e2-bf27-6f05d22d7176" providerId="AD" clId="Web-{23890327-4E0E-4566-8C3D-53CDFBFD972A}"/>
    <pc:docChg chg="sldOrd modSection">
      <pc:chgData name="Daume, Daniel" userId="S::daniel.daume@adesso.de::fb20ccc6-12f4-49e2-bf27-6f05d22d7176" providerId="AD" clId="Web-{23890327-4E0E-4566-8C3D-53CDFBFD972A}" dt="2024-01-27T12:33:26.825" v="0"/>
      <pc:docMkLst>
        <pc:docMk/>
      </pc:docMkLst>
      <pc:sldChg chg="ord">
        <pc:chgData name="Daume, Daniel" userId="S::daniel.daume@adesso.de::fb20ccc6-12f4-49e2-bf27-6f05d22d7176" providerId="AD" clId="Web-{23890327-4E0E-4566-8C3D-53CDFBFD972A}" dt="2024-01-27T12:33:26.825" v="0"/>
        <pc:sldMkLst>
          <pc:docMk/>
          <pc:sldMk cId="872439262" sldId="2076137165"/>
        </pc:sldMkLst>
      </pc:sldChg>
    </pc:docChg>
  </pc:docChgLst>
  <pc:docChgLst>
    <pc:chgData name="Schindler, Diana" userId="5d2d35c8-52b3-424f-9285-822ca605bab7" providerId="ADAL" clId="{F210D7CE-8124-2A4F-ACFD-C7A55A9BD0F0}"/>
    <pc:docChg chg="undo custSel addSld delSld modSld sldOrd addMainMaster modMainMaster addSection modSection">
      <pc:chgData name="Schindler, Diana" userId="5d2d35c8-52b3-424f-9285-822ca605bab7" providerId="ADAL" clId="{F210D7CE-8124-2A4F-ACFD-C7A55A9BD0F0}" dt="2022-08-22T16:43:03.918" v="2490" actId="20577"/>
      <pc:docMkLst>
        <pc:docMk/>
      </pc:docMkLst>
      <pc:sldChg chg="ord">
        <pc:chgData name="Schindler, Diana" userId="5d2d35c8-52b3-424f-9285-822ca605bab7" providerId="ADAL" clId="{F210D7CE-8124-2A4F-ACFD-C7A55A9BD0F0}" dt="2022-08-19T15:08:33.273" v="7" actId="20578"/>
        <pc:sldMkLst>
          <pc:docMk/>
          <pc:sldMk cId="3839176491" sldId="263"/>
        </pc:sldMkLst>
      </pc:sldChg>
      <pc:sldChg chg="del">
        <pc:chgData name="Schindler, Diana" userId="5d2d35c8-52b3-424f-9285-822ca605bab7" providerId="ADAL" clId="{F210D7CE-8124-2A4F-ACFD-C7A55A9BD0F0}" dt="2022-08-19T15:34:17.299" v="349" actId="2696"/>
        <pc:sldMkLst>
          <pc:docMk/>
          <pc:sldMk cId="656086905" sldId="284"/>
        </pc:sldMkLst>
      </pc:sldChg>
      <pc:sldChg chg="addSp delSp modSp add del mod ord modClrScheme chgLayout">
        <pc:chgData name="Schindler, Diana" userId="5d2d35c8-52b3-424f-9285-822ca605bab7" providerId="ADAL" clId="{F210D7CE-8124-2A4F-ACFD-C7A55A9BD0F0}" dt="2022-08-22T15:24:59.141" v="1541" actId="2696"/>
        <pc:sldMkLst>
          <pc:docMk/>
          <pc:sldMk cId="2156225273" sldId="284"/>
        </pc:sldMkLst>
        <pc:spChg chg="mod ord">
          <ac:chgData name="Schindler, Diana" userId="5d2d35c8-52b3-424f-9285-822ca605bab7" providerId="ADAL" clId="{F210D7CE-8124-2A4F-ACFD-C7A55A9BD0F0}" dt="2022-08-21T16:21:31.405" v="1414" actId="700"/>
          <ac:spMkLst>
            <pc:docMk/>
            <pc:sldMk cId="2156225273" sldId="284"/>
            <ac:spMk id="2" creationId="{60722822-F218-4B9D-859F-6A39F829FA70}"/>
          </ac:spMkLst>
        </pc:spChg>
        <pc:spChg chg="mod ord">
          <ac:chgData name="Schindler, Diana" userId="5d2d35c8-52b3-424f-9285-822ca605bab7" providerId="ADAL" clId="{F210D7CE-8124-2A4F-ACFD-C7A55A9BD0F0}" dt="2022-08-21T16:21:31.405" v="1414" actId="700"/>
          <ac:spMkLst>
            <pc:docMk/>
            <pc:sldMk cId="2156225273" sldId="284"/>
            <ac:spMk id="3" creationId="{BEFE3E52-4B03-48DD-951A-CB50AA674706}"/>
          </ac:spMkLst>
        </pc:spChg>
        <pc:spChg chg="add mod">
          <ac:chgData name="Schindler, Diana" userId="5d2d35c8-52b3-424f-9285-822ca605bab7" providerId="ADAL" clId="{F210D7CE-8124-2A4F-ACFD-C7A55A9BD0F0}" dt="2022-08-19T15:37:08.423" v="403" actId="108"/>
          <ac:spMkLst>
            <pc:docMk/>
            <pc:sldMk cId="2156225273" sldId="284"/>
            <ac:spMk id="4" creationId="{A87F211B-00F8-72FC-3CBF-FD697BD61690}"/>
          </ac:spMkLst>
        </pc:spChg>
        <pc:spChg chg="mod ord">
          <ac:chgData name="Schindler, Diana" userId="5d2d35c8-52b3-424f-9285-822ca605bab7" providerId="ADAL" clId="{F210D7CE-8124-2A4F-ACFD-C7A55A9BD0F0}" dt="2022-08-21T16:21:31.405" v="1414" actId="700"/>
          <ac:spMkLst>
            <pc:docMk/>
            <pc:sldMk cId="2156225273" sldId="284"/>
            <ac:spMk id="6" creationId="{A3B7A875-710B-33BF-FF9C-C4CB3CB34F7E}"/>
          </ac:spMkLst>
        </pc:spChg>
        <pc:spChg chg="add del mod">
          <ac:chgData name="Schindler, Diana" userId="5d2d35c8-52b3-424f-9285-822ca605bab7" providerId="ADAL" clId="{F210D7CE-8124-2A4F-ACFD-C7A55A9BD0F0}" dt="2022-08-19T15:37:14.382" v="405" actId="478"/>
          <ac:spMkLst>
            <pc:docMk/>
            <pc:sldMk cId="2156225273" sldId="284"/>
            <ac:spMk id="7" creationId="{EF7C7BDB-0446-BC42-2E7A-C70E98EE27F4}"/>
          </ac:spMkLst>
        </pc:spChg>
        <pc:spChg chg="add del mod">
          <ac:chgData name="Schindler, Diana" userId="5d2d35c8-52b3-424f-9285-822ca605bab7" providerId="ADAL" clId="{F210D7CE-8124-2A4F-ACFD-C7A55A9BD0F0}" dt="2022-08-19T15:39:00.753" v="410"/>
          <ac:spMkLst>
            <pc:docMk/>
            <pc:sldMk cId="2156225273" sldId="284"/>
            <ac:spMk id="8" creationId="{82E1A298-EA52-D695-E126-471CD6A09CCE}"/>
          </ac:spMkLst>
        </pc:spChg>
        <pc:spChg chg="add del mod">
          <ac:chgData name="Schindler, Diana" userId="5d2d35c8-52b3-424f-9285-822ca605bab7" providerId="ADAL" clId="{F210D7CE-8124-2A4F-ACFD-C7A55A9BD0F0}" dt="2022-08-19T15:57:02.111" v="506"/>
          <ac:spMkLst>
            <pc:docMk/>
            <pc:sldMk cId="2156225273" sldId="284"/>
            <ac:spMk id="9" creationId="{2B64360E-36CD-5450-E3B1-139BFDA63AD0}"/>
          </ac:spMkLst>
        </pc:spChg>
        <pc:spChg chg="mod ord">
          <ac:chgData name="Schindler, Diana" userId="5d2d35c8-52b3-424f-9285-822ca605bab7" providerId="ADAL" clId="{F210D7CE-8124-2A4F-ACFD-C7A55A9BD0F0}" dt="2022-08-21T16:21:31.405" v="1414" actId="700"/>
          <ac:spMkLst>
            <pc:docMk/>
            <pc:sldMk cId="2156225273" sldId="284"/>
            <ac:spMk id="10" creationId="{BA6A608F-E310-4958-B8A6-0622B8F4429D}"/>
          </ac:spMkLst>
        </pc:spChg>
        <pc:picChg chg="add mod">
          <ac:chgData name="Schindler, Diana" userId="5d2d35c8-52b3-424f-9285-822ca605bab7" providerId="ADAL" clId="{F210D7CE-8124-2A4F-ACFD-C7A55A9BD0F0}" dt="2022-08-19T15:57:57" v="510" actId="14100"/>
          <ac:picMkLst>
            <pc:docMk/>
            <pc:sldMk cId="2156225273" sldId="284"/>
            <ac:picMk id="12" creationId="{23CD7C05-6B6B-ED1D-CFAF-6CE72ED9197A}"/>
          </ac:picMkLst>
        </pc:picChg>
        <pc:picChg chg="add del mod">
          <ac:chgData name="Schindler, Diana" userId="5d2d35c8-52b3-424f-9285-822ca605bab7" providerId="ADAL" clId="{F210D7CE-8124-2A4F-ACFD-C7A55A9BD0F0}" dt="2022-08-19T15:57:12.329" v="508" actId="1076"/>
          <ac:picMkLst>
            <pc:docMk/>
            <pc:sldMk cId="2156225273" sldId="284"/>
            <ac:picMk id="14" creationId="{CA80F073-7739-4E08-AAF8-6CB30C9CBF44}"/>
          </ac:picMkLst>
        </pc:picChg>
      </pc:sldChg>
      <pc:sldChg chg="ord">
        <pc:chgData name="Schindler, Diana" userId="5d2d35c8-52b3-424f-9285-822ca605bab7" providerId="ADAL" clId="{F210D7CE-8124-2A4F-ACFD-C7A55A9BD0F0}" dt="2022-08-19T15:08:33.273" v="7" actId="20578"/>
        <pc:sldMkLst>
          <pc:docMk/>
          <pc:sldMk cId="1869436095" sldId="365"/>
        </pc:sldMkLst>
      </pc:sldChg>
      <pc:sldChg chg="ord">
        <pc:chgData name="Schindler, Diana" userId="5d2d35c8-52b3-424f-9285-822ca605bab7" providerId="ADAL" clId="{F210D7CE-8124-2A4F-ACFD-C7A55A9BD0F0}" dt="2022-08-19T15:08:33.273" v="7" actId="20578"/>
        <pc:sldMkLst>
          <pc:docMk/>
          <pc:sldMk cId="1496990346" sldId="366"/>
        </pc:sldMkLst>
      </pc:sldChg>
      <pc:sldChg chg="addSp delSp modSp add mod ord modNotesTx">
        <pc:chgData name="Schindler, Diana" userId="5d2d35c8-52b3-424f-9285-822ca605bab7" providerId="ADAL" clId="{F210D7CE-8124-2A4F-ACFD-C7A55A9BD0F0}" dt="2022-08-22T16:42:49.818" v="2447" actId="20577"/>
        <pc:sldMkLst>
          <pc:docMk/>
          <pc:sldMk cId="304257319" sldId="2076137160"/>
        </pc:sldMkLst>
        <pc:spChg chg="mod">
          <ac:chgData name="Schindler, Diana" userId="5d2d35c8-52b3-424f-9285-822ca605bab7" providerId="ADAL" clId="{F210D7CE-8124-2A4F-ACFD-C7A55A9BD0F0}" dt="2022-08-20T17:47:07.221" v="643" actId="1076"/>
          <ac:spMkLst>
            <pc:docMk/>
            <pc:sldMk cId="304257319" sldId="2076137160"/>
            <ac:spMk id="2" creationId="{2626170C-A8C1-4A45-815F-48C84D9F889B}"/>
          </ac:spMkLst>
        </pc:spChg>
        <pc:spChg chg="del">
          <ac:chgData name="Schindler, Diana" userId="5d2d35c8-52b3-424f-9285-822ca605bab7" providerId="ADAL" clId="{F210D7CE-8124-2A4F-ACFD-C7A55A9BD0F0}" dt="2022-08-19T15:11:55.551" v="13" actId="478"/>
          <ac:spMkLst>
            <pc:docMk/>
            <pc:sldMk cId="304257319" sldId="2076137160"/>
            <ac:spMk id="7" creationId="{DA61713A-62B4-F441-8FAA-AC06426AB5BD}"/>
          </ac:spMkLst>
        </pc:spChg>
        <pc:spChg chg="add mod">
          <ac:chgData name="Schindler, Diana" userId="5d2d35c8-52b3-424f-9285-822ca605bab7" providerId="ADAL" clId="{F210D7CE-8124-2A4F-ACFD-C7A55A9BD0F0}" dt="2022-08-20T17:44:03.956" v="586" actId="1076"/>
          <ac:spMkLst>
            <pc:docMk/>
            <pc:sldMk cId="304257319" sldId="2076137160"/>
            <ac:spMk id="9" creationId="{E89EA1D2-DE29-1274-AAC9-D40823A77C12}"/>
          </ac:spMkLst>
        </pc:spChg>
        <pc:spChg chg="add mod">
          <ac:chgData name="Schindler, Diana" userId="5d2d35c8-52b3-424f-9285-822ca605bab7" providerId="ADAL" clId="{F210D7CE-8124-2A4F-ACFD-C7A55A9BD0F0}" dt="2022-08-22T16:42:49.818" v="2447" actId="20577"/>
          <ac:spMkLst>
            <pc:docMk/>
            <pc:sldMk cId="304257319" sldId="2076137160"/>
            <ac:spMk id="10" creationId="{6754B4DF-7A23-C634-8DE5-9B4A7A810DBF}"/>
          </ac:spMkLst>
        </pc:spChg>
        <pc:spChg chg="add del mod">
          <ac:chgData name="Schindler, Diana" userId="5d2d35c8-52b3-424f-9285-822ca605bab7" providerId="ADAL" clId="{F210D7CE-8124-2A4F-ACFD-C7A55A9BD0F0}" dt="2022-08-19T15:11:57.799" v="14" actId="478"/>
          <ac:spMkLst>
            <pc:docMk/>
            <pc:sldMk cId="304257319" sldId="2076137160"/>
            <ac:spMk id="10" creationId="{A2CF80BE-C893-1346-843F-A234ECAE03B1}"/>
          </ac:spMkLst>
        </pc:spChg>
        <pc:spChg chg="add del mod">
          <ac:chgData name="Schindler, Diana" userId="5d2d35c8-52b3-424f-9285-822ca605bab7" providerId="ADAL" clId="{F210D7CE-8124-2A4F-ACFD-C7A55A9BD0F0}" dt="2022-08-20T17:53:25.944" v="744" actId="478"/>
          <ac:spMkLst>
            <pc:docMk/>
            <pc:sldMk cId="304257319" sldId="2076137160"/>
            <ac:spMk id="17" creationId="{EF32B42B-270A-851F-268E-F03D951907A2}"/>
          </ac:spMkLst>
        </pc:spChg>
        <pc:spChg chg="mod">
          <ac:chgData name="Schindler, Diana" userId="5d2d35c8-52b3-424f-9285-822ca605bab7" providerId="ADAL" clId="{F210D7CE-8124-2A4F-ACFD-C7A55A9BD0F0}" dt="2022-08-19T15:17:11.928" v="40" actId="164"/>
          <ac:spMkLst>
            <pc:docMk/>
            <pc:sldMk cId="304257319" sldId="2076137160"/>
            <ac:spMk id="18" creationId="{AF441DB6-8B28-1B4E-9F11-8EB82D4DD3CC}"/>
          </ac:spMkLst>
        </pc:spChg>
        <pc:spChg chg="mod">
          <ac:chgData name="Schindler, Diana" userId="5d2d35c8-52b3-424f-9285-822ca605bab7" providerId="ADAL" clId="{F210D7CE-8124-2A4F-ACFD-C7A55A9BD0F0}" dt="2022-08-19T15:17:31.800" v="41" actId="164"/>
          <ac:spMkLst>
            <pc:docMk/>
            <pc:sldMk cId="304257319" sldId="2076137160"/>
            <ac:spMk id="19" creationId="{489B398B-1719-BB45-9EF5-5C7B6E94AFEF}"/>
          </ac:spMkLst>
        </pc:spChg>
        <pc:spChg chg="mod">
          <ac:chgData name="Schindler, Diana" userId="5d2d35c8-52b3-424f-9285-822ca605bab7" providerId="ADAL" clId="{F210D7CE-8124-2A4F-ACFD-C7A55A9BD0F0}" dt="2022-08-19T15:18:57.281" v="58" actId="164"/>
          <ac:spMkLst>
            <pc:docMk/>
            <pc:sldMk cId="304257319" sldId="2076137160"/>
            <ac:spMk id="20" creationId="{1F42B5BA-32A5-2B49-96A7-1192AD96B945}"/>
          </ac:spMkLst>
        </pc:spChg>
        <pc:spChg chg="mod">
          <ac:chgData name="Schindler, Diana" userId="5d2d35c8-52b3-424f-9285-822ca605bab7" providerId="ADAL" clId="{F210D7CE-8124-2A4F-ACFD-C7A55A9BD0F0}" dt="2022-08-20T17:45:53.418" v="634" actId="164"/>
          <ac:spMkLst>
            <pc:docMk/>
            <pc:sldMk cId="304257319" sldId="2076137160"/>
            <ac:spMk id="21" creationId="{8BBB79E5-7300-774D-B1B9-7F2C771CE074}"/>
          </ac:spMkLst>
        </pc:spChg>
        <pc:spChg chg="mod">
          <ac:chgData name="Schindler, Diana" userId="5d2d35c8-52b3-424f-9285-822ca605bab7" providerId="ADAL" clId="{F210D7CE-8124-2A4F-ACFD-C7A55A9BD0F0}" dt="2022-08-20T17:43:19.302" v="570" actId="164"/>
          <ac:spMkLst>
            <pc:docMk/>
            <pc:sldMk cId="304257319" sldId="2076137160"/>
            <ac:spMk id="22" creationId="{966C44C9-863D-0A4D-9A07-E83D75725239}"/>
          </ac:spMkLst>
        </pc:spChg>
        <pc:spChg chg="mod">
          <ac:chgData name="Schindler, Diana" userId="5d2d35c8-52b3-424f-9285-822ca605bab7" providerId="ADAL" clId="{F210D7CE-8124-2A4F-ACFD-C7A55A9BD0F0}" dt="2022-08-20T17:43:22.316" v="571"/>
          <ac:spMkLst>
            <pc:docMk/>
            <pc:sldMk cId="304257319" sldId="2076137160"/>
            <ac:spMk id="27" creationId="{05C0642F-C641-FAA6-C870-E3D58E9E0DAA}"/>
          </ac:spMkLst>
        </pc:spChg>
        <pc:spChg chg="mod">
          <ac:chgData name="Schindler, Diana" userId="5d2d35c8-52b3-424f-9285-822ca605bab7" providerId="ADAL" clId="{F210D7CE-8124-2A4F-ACFD-C7A55A9BD0F0}" dt="2022-08-20T17:46:39.064" v="638" actId="404"/>
          <ac:spMkLst>
            <pc:docMk/>
            <pc:sldMk cId="304257319" sldId="2076137160"/>
            <ac:spMk id="29" creationId="{44351552-4818-77FF-6314-3594269E9642}"/>
          </ac:spMkLst>
        </pc:spChg>
        <pc:spChg chg="mod">
          <ac:chgData name="Schindler, Diana" userId="5d2d35c8-52b3-424f-9285-822ca605bab7" providerId="ADAL" clId="{F210D7CE-8124-2A4F-ACFD-C7A55A9BD0F0}" dt="2022-08-20T17:46:59.208" v="642" actId="255"/>
          <ac:spMkLst>
            <pc:docMk/>
            <pc:sldMk cId="304257319" sldId="2076137160"/>
            <ac:spMk id="31" creationId="{A19A5964-DC58-2540-BD30-E0FE81954540}"/>
          </ac:spMkLst>
        </pc:spChg>
        <pc:spChg chg="add mod">
          <ac:chgData name="Schindler, Diana" userId="5d2d35c8-52b3-424f-9285-822ca605bab7" providerId="ADAL" clId="{F210D7CE-8124-2A4F-ACFD-C7A55A9BD0F0}" dt="2022-08-19T15:25:32.620" v="180" actId="1076"/>
          <ac:spMkLst>
            <pc:docMk/>
            <pc:sldMk cId="304257319" sldId="2076137160"/>
            <ac:spMk id="33" creationId="{A77038EF-05EF-2563-8E7B-5F040DC02FEC}"/>
          </ac:spMkLst>
        </pc:spChg>
        <pc:spChg chg="add del mod">
          <ac:chgData name="Schindler, Diana" userId="5d2d35c8-52b3-424f-9285-822ca605bab7" providerId="ADAL" clId="{F210D7CE-8124-2A4F-ACFD-C7A55A9BD0F0}" dt="2022-08-20T17:44:11.631" v="587" actId="478"/>
          <ac:spMkLst>
            <pc:docMk/>
            <pc:sldMk cId="304257319" sldId="2076137160"/>
            <ac:spMk id="34" creationId="{778BC017-45E1-7090-2D7B-F7ED60C6FC0E}"/>
          </ac:spMkLst>
        </pc:spChg>
        <pc:spChg chg="add mod">
          <ac:chgData name="Schindler, Diana" userId="5d2d35c8-52b3-424f-9285-822ca605bab7" providerId="ADAL" clId="{F210D7CE-8124-2A4F-ACFD-C7A55A9BD0F0}" dt="2022-08-19T15:25:29.474" v="179" actId="1076"/>
          <ac:spMkLst>
            <pc:docMk/>
            <pc:sldMk cId="304257319" sldId="2076137160"/>
            <ac:spMk id="36" creationId="{6A897E3F-9E66-F127-39E2-138E73B2DC09}"/>
          </ac:spMkLst>
        </pc:spChg>
        <pc:spChg chg="add mod">
          <ac:chgData name="Schindler, Diana" userId="5d2d35c8-52b3-424f-9285-822ca605bab7" providerId="ADAL" clId="{F210D7CE-8124-2A4F-ACFD-C7A55A9BD0F0}" dt="2022-08-19T15:25:26.645" v="178" actId="1076"/>
          <ac:spMkLst>
            <pc:docMk/>
            <pc:sldMk cId="304257319" sldId="2076137160"/>
            <ac:spMk id="39" creationId="{0D9A94AC-0EE3-7A28-EA34-A312886BFAD8}"/>
          </ac:spMkLst>
        </pc:spChg>
        <pc:spChg chg="mod">
          <ac:chgData name="Schindler, Diana" userId="5d2d35c8-52b3-424f-9285-822ca605bab7" providerId="ADAL" clId="{F210D7CE-8124-2A4F-ACFD-C7A55A9BD0F0}" dt="2022-08-20T17:47:11.400" v="645" actId="1076"/>
          <ac:spMkLst>
            <pc:docMk/>
            <pc:sldMk cId="304257319" sldId="2076137160"/>
            <ac:spMk id="40" creationId="{CACCC1C1-A0F7-9D4D-B1E6-619755C90D52}"/>
          </ac:spMkLst>
        </pc:spChg>
        <pc:spChg chg="add mod">
          <ac:chgData name="Schindler, Diana" userId="5d2d35c8-52b3-424f-9285-822ca605bab7" providerId="ADAL" clId="{F210D7CE-8124-2A4F-ACFD-C7A55A9BD0F0}" dt="2022-08-20T17:55:09.715" v="755" actId="207"/>
          <ac:spMkLst>
            <pc:docMk/>
            <pc:sldMk cId="304257319" sldId="2076137160"/>
            <ac:spMk id="41" creationId="{2A7CF807-E4AE-10F0-7C34-152CF08977FB}"/>
          </ac:spMkLst>
        </pc:spChg>
        <pc:spChg chg="add mod">
          <ac:chgData name="Schindler, Diana" userId="5d2d35c8-52b3-424f-9285-822ca605bab7" providerId="ADAL" clId="{F210D7CE-8124-2A4F-ACFD-C7A55A9BD0F0}" dt="2022-08-19T15:25:46.163" v="182" actId="1076"/>
          <ac:spMkLst>
            <pc:docMk/>
            <pc:sldMk cId="304257319" sldId="2076137160"/>
            <ac:spMk id="42" creationId="{29271793-01CD-C347-1164-DCD259FBF2D9}"/>
          </ac:spMkLst>
        </pc:spChg>
        <pc:spChg chg="add mod">
          <ac:chgData name="Schindler, Diana" userId="5d2d35c8-52b3-424f-9285-822ca605bab7" providerId="ADAL" clId="{F210D7CE-8124-2A4F-ACFD-C7A55A9BD0F0}" dt="2022-08-19T15:26:54.906" v="198" actId="20577"/>
          <ac:spMkLst>
            <pc:docMk/>
            <pc:sldMk cId="304257319" sldId="2076137160"/>
            <ac:spMk id="47" creationId="{C0833E84-52AD-D444-E520-0247E275D8F6}"/>
          </ac:spMkLst>
        </pc:spChg>
        <pc:spChg chg="add mod">
          <ac:chgData name="Schindler, Diana" userId="5d2d35c8-52b3-424f-9285-822ca605bab7" providerId="ADAL" clId="{F210D7CE-8124-2A4F-ACFD-C7A55A9BD0F0}" dt="2022-08-20T17:40:08.239" v="532" actId="20577"/>
          <ac:spMkLst>
            <pc:docMk/>
            <pc:sldMk cId="304257319" sldId="2076137160"/>
            <ac:spMk id="50" creationId="{95C43E4F-4D4C-01E8-7C5F-C4E61FC7ABC7}"/>
          </ac:spMkLst>
        </pc:spChg>
        <pc:spChg chg="mod">
          <ac:chgData name="Schindler, Diana" userId="5d2d35c8-52b3-424f-9285-822ca605bab7" providerId="ADAL" clId="{F210D7CE-8124-2A4F-ACFD-C7A55A9BD0F0}" dt="2022-08-20T17:47:15.202" v="647" actId="1076"/>
          <ac:spMkLst>
            <pc:docMk/>
            <pc:sldMk cId="304257319" sldId="2076137160"/>
            <ac:spMk id="52" creationId="{C5AD70EA-72EB-2248-ABAC-A1353BE21D8E}"/>
          </ac:spMkLst>
        </pc:spChg>
        <pc:spChg chg="mod">
          <ac:chgData name="Schindler, Diana" userId="5d2d35c8-52b3-424f-9285-822ca605bab7" providerId="ADAL" clId="{F210D7CE-8124-2A4F-ACFD-C7A55A9BD0F0}" dt="2022-08-20T17:47:18.421" v="649" actId="1076"/>
          <ac:spMkLst>
            <pc:docMk/>
            <pc:sldMk cId="304257319" sldId="2076137160"/>
            <ac:spMk id="53" creationId="{0CAF08BC-F2FC-4C40-B029-7FEF36F793B6}"/>
          </ac:spMkLst>
        </pc:spChg>
        <pc:spChg chg="mod">
          <ac:chgData name="Schindler, Diana" userId="5d2d35c8-52b3-424f-9285-822ca605bab7" providerId="ADAL" clId="{F210D7CE-8124-2A4F-ACFD-C7A55A9BD0F0}" dt="2022-08-20T17:46:50.166" v="640" actId="255"/>
          <ac:spMkLst>
            <pc:docMk/>
            <pc:sldMk cId="304257319" sldId="2076137160"/>
            <ac:spMk id="54" creationId="{FB411FDC-8124-1245-9269-303E510B31DA}"/>
          </ac:spMkLst>
        </pc:spChg>
        <pc:spChg chg="mod">
          <ac:chgData name="Schindler, Diana" userId="5d2d35c8-52b3-424f-9285-822ca605bab7" providerId="ADAL" clId="{F210D7CE-8124-2A4F-ACFD-C7A55A9BD0F0}" dt="2022-08-20T17:46:53.989" v="641" actId="255"/>
          <ac:spMkLst>
            <pc:docMk/>
            <pc:sldMk cId="304257319" sldId="2076137160"/>
            <ac:spMk id="55" creationId="{B9820FB5-F3C6-5F44-9F36-FDDF392FA385}"/>
          </ac:spMkLst>
        </pc:spChg>
        <pc:spChg chg="mod">
          <ac:chgData name="Schindler, Diana" userId="5d2d35c8-52b3-424f-9285-822ca605bab7" providerId="ADAL" clId="{F210D7CE-8124-2A4F-ACFD-C7A55A9BD0F0}" dt="2022-08-20T17:46:44.995" v="639" actId="404"/>
          <ac:spMkLst>
            <pc:docMk/>
            <pc:sldMk cId="304257319" sldId="2076137160"/>
            <ac:spMk id="56" creationId="{EAFDBA11-7788-E543-9034-8EDDAD2CC582}"/>
          </ac:spMkLst>
        </pc:spChg>
        <pc:spChg chg="mod">
          <ac:chgData name="Schindler, Diana" userId="5d2d35c8-52b3-424f-9285-822ca605bab7" providerId="ADAL" clId="{F210D7CE-8124-2A4F-ACFD-C7A55A9BD0F0}" dt="2022-08-20T17:43:19.302" v="570" actId="164"/>
          <ac:spMkLst>
            <pc:docMk/>
            <pc:sldMk cId="304257319" sldId="2076137160"/>
            <ac:spMk id="57" creationId="{97B64299-0D1A-8D45-A947-6E11858F39E2}"/>
          </ac:spMkLst>
        </pc:spChg>
        <pc:spChg chg="mod">
          <ac:chgData name="Schindler, Diana" userId="5d2d35c8-52b3-424f-9285-822ca605bab7" providerId="ADAL" clId="{F210D7CE-8124-2A4F-ACFD-C7A55A9BD0F0}" dt="2022-08-20T17:47:23.765" v="651"/>
          <ac:spMkLst>
            <pc:docMk/>
            <pc:sldMk cId="304257319" sldId="2076137160"/>
            <ac:spMk id="59" creationId="{13DCECB1-0AF6-0A75-90D5-0367C262C207}"/>
          </ac:spMkLst>
        </pc:spChg>
        <pc:spChg chg="mod">
          <ac:chgData name="Schindler, Diana" userId="5d2d35c8-52b3-424f-9285-822ca605bab7" providerId="ADAL" clId="{F210D7CE-8124-2A4F-ACFD-C7A55A9BD0F0}" dt="2022-08-20T17:47:29.141" v="653" actId="20577"/>
          <ac:spMkLst>
            <pc:docMk/>
            <pc:sldMk cId="304257319" sldId="2076137160"/>
            <ac:spMk id="60" creationId="{82DF406E-D793-BDF0-68B7-A28CCC5B0C01}"/>
          </ac:spMkLst>
        </pc:spChg>
        <pc:spChg chg="add mod">
          <ac:chgData name="Schindler, Diana" userId="5d2d35c8-52b3-424f-9285-822ca605bab7" providerId="ADAL" clId="{F210D7CE-8124-2A4F-ACFD-C7A55A9BD0F0}" dt="2022-08-20T17:59:12.481" v="1076" actId="207"/>
          <ac:spMkLst>
            <pc:docMk/>
            <pc:sldMk cId="304257319" sldId="2076137160"/>
            <ac:spMk id="65" creationId="{E71522E3-A34B-E437-5E10-58092645C3E4}"/>
          </ac:spMkLst>
        </pc:spChg>
        <pc:spChg chg="add mod">
          <ac:chgData name="Schindler, Diana" userId="5d2d35c8-52b3-424f-9285-822ca605bab7" providerId="ADAL" clId="{F210D7CE-8124-2A4F-ACFD-C7A55A9BD0F0}" dt="2022-08-20T17:52:29.948" v="733" actId="1076"/>
          <ac:spMkLst>
            <pc:docMk/>
            <pc:sldMk cId="304257319" sldId="2076137160"/>
            <ac:spMk id="66" creationId="{4F93020C-9448-F8BD-4505-F754F0491F3E}"/>
          </ac:spMkLst>
        </pc:spChg>
        <pc:spChg chg="add mod">
          <ac:chgData name="Schindler, Diana" userId="5d2d35c8-52b3-424f-9285-822ca605bab7" providerId="ADAL" clId="{F210D7CE-8124-2A4F-ACFD-C7A55A9BD0F0}" dt="2022-08-20T17:52:29.948" v="733" actId="1076"/>
          <ac:spMkLst>
            <pc:docMk/>
            <pc:sldMk cId="304257319" sldId="2076137160"/>
            <ac:spMk id="67" creationId="{BBE997B2-E311-3A21-C4D6-17480B949588}"/>
          </ac:spMkLst>
        </pc:spChg>
        <pc:spChg chg="mod">
          <ac:chgData name="Schindler, Diana" userId="5d2d35c8-52b3-424f-9285-822ca605bab7" providerId="ADAL" clId="{F210D7CE-8124-2A4F-ACFD-C7A55A9BD0F0}" dt="2022-08-20T17:52:33.603" v="735" actId="1076"/>
          <ac:spMkLst>
            <pc:docMk/>
            <pc:sldMk cId="304257319" sldId="2076137160"/>
            <ac:spMk id="70" creationId="{38DA92F9-5501-BF06-1F72-83C083875607}"/>
          </ac:spMkLst>
        </pc:spChg>
        <pc:spChg chg="mod">
          <ac:chgData name="Schindler, Diana" userId="5d2d35c8-52b3-424f-9285-822ca605bab7" providerId="ADAL" clId="{F210D7CE-8124-2A4F-ACFD-C7A55A9BD0F0}" dt="2022-08-20T17:52:33.603" v="735" actId="1076"/>
          <ac:spMkLst>
            <pc:docMk/>
            <pc:sldMk cId="304257319" sldId="2076137160"/>
            <ac:spMk id="72" creationId="{E7B2ACE6-5C8B-02A5-D66C-1970B8261D08}"/>
          </ac:spMkLst>
        </pc:spChg>
        <pc:spChg chg="mod">
          <ac:chgData name="Schindler, Diana" userId="5d2d35c8-52b3-424f-9285-822ca605bab7" providerId="ADAL" clId="{F210D7CE-8124-2A4F-ACFD-C7A55A9BD0F0}" dt="2022-08-20T17:52:36.725" v="737" actId="1076"/>
          <ac:spMkLst>
            <pc:docMk/>
            <pc:sldMk cId="304257319" sldId="2076137160"/>
            <ac:spMk id="74" creationId="{79BFB0A4-F4CD-CE8F-58BD-55400B0F108A}"/>
          </ac:spMkLst>
        </pc:spChg>
        <pc:spChg chg="mod">
          <ac:chgData name="Schindler, Diana" userId="5d2d35c8-52b3-424f-9285-822ca605bab7" providerId="ADAL" clId="{F210D7CE-8124-2A4F-ACFD-C7A55A9BD0F0}" dt="2022-08-20T17:52:36.725" v="737" actId="1076"/>
          <ac:spMkLst>
            <pc:docMk/>
            <pc:sldMk cId="304257319" sldId="2076137160"/>
            <ac:spMk id="76" creationId="{635A43EA-821E-6A99-A4B5-B20B4484D6E1}"/>
          </ac:spMkLst>
        </pc:spChg>
        <pc:spChg chg="mod">
          <ac:chgData name="Schindler, Diana" userId="5d2d35c8-52b3-424f-9285-822ca605bab7" providerId="ADAL" clId="{F210D7CE-8124-2A4F-ACFD-C7A55A9BD0F0}" dt="2022-08-20T17:52:40.797" v="739" actId="1076"/>
          <ac:spMkLst>
            <pc:docMk/>
            <pc:sldMk cId="304257319" sldId="2076137160"/>
            <ac:spMk id="78" creationId="{471BEFE6-B0D2-8D32-39A2-7699ABA095BE}"/>
          </ac:spMkLst>
        </pc:spChg>
        <pc:spChg chg="mod">
          <ac:chgData name="Schindler, Diana" userId="5d2d35c8-52b3-424f-9285-822ca605bab7" providerId="ADAL" clId="{F210D7CE-8124-2A4F-ACFD-C7A55A9BD0F0}" dt="2022-08-20T17:52:40.797" v="739" actId="1076"/>
          <ac:spMkLst>
            <pc:docMk/>
            <pc:sldMk cId="304257319" sldId="2076137160"/>
            <ac:spMk id="80" creationId="{A1F6CB3C-EE0E-5342-BB41-6376D3D4525E}"/>
          </ac:spMkLst>
        </pc:spChg>
        <pc:spChg chg="mod">
          <ac:chgData name="Schindler, Diana" userId="5d2d35c8-52b3-424f-9285-822ca605bab7" providerId="ADAL" clId="{F210D7CE-8124-2A4F-ACFD-C7A55A9BD0F0}" dt="2022-08-20T17:52:44.336" v="741" actId="1076"/>
          <ac:spMkLst>
            <pc:docMk/>
            <pc:sldMk cId="304257319" sldId="2076137160"/>
            <ac:spMk id="82" creationId="{473769FB-21E9-D15F-FE3D-0FF588596453}"/>
          </ac:spMkLst>
        </pc:spChg>
        <pc:spChg chg="mod">
          <ac:chgData name="Schindler, Diana" userId="5d2d35c8-52b3-424f-9285-822ca605bab7" providerId="ADAL" clId="{F210D7CE-8124-2A4F-ACFD-C7A55A9BD0F0}" dt="2022-08-20T17:52:44.336" v="741" actId="1076"/>
          <ac:spMkLst>
            <pc:docMk/>
            <pc:sldMk cId="304257319" sldId="2076137160"/>
            <ac:spMk id="84" creationId="{C140F412-DE4B-37E2-3590-E37266AF8181}"/>
          </ac:spMkLst>
        </pc:spChg>
        <pc:spChg chg="mod">
          <ac:chgData name="Schindler, Diana" userId="5d2d35c8-52b3-424f-9285-822ca605bab7" providerId="ADAL" clId="{F210D7CE-8124-2A4F-ACFD-C7A55A9BD0F0}" dt="2022-08-20T17:52:51.754" v="743" actId="1076"/>
          <ac:spMkLst>
            <pc:docMk/>
            <pc:sldMk cId="304257319" sldId="2076137160"/>
            <ac:spMk id="86" creationId="{F00A0D3B-6A04-9D65-381D-1C6503DAFEAC}"/>
          </ac:spMkLst>
        </pc:spChg>
        <pc:spChg chg="mod">
          <ac:chgData name="Schindler, Diana" userId="5d2d35c8-52b3-424f-9285-822ca605bab7" providerId="ADAL" clId="{F210D7CE-8124-2A4F-ACFD-C7A55A9BD0F0}" dt="2022-08-20T17:52:51.754" v="743" actId="1076"/>
          <ac:spMkLst>
            <pc:docMk/>
            <pc:sldMk cId="304257319" sldId="2076137160"/>
            <ac:spMk id="88" creationId="{5710A07F-7299-D1A1-ACC6-BF084F23928E}"/>
          </ac:spMkLst>
        </pc:spChg>
        <pc:spChg chg="add mod">
          <ac:chgData name="Schindler, Diana" userId="5d2d35c8-52b3-424f-9285-822ca605bab7" providerId="ADAL" clId="{F210D7CE-8124-2A4F-ACFD-C7A55A9BD0F0}" dt="2022-08-20T17:59:56.845" v="1083" actId="1076"/>
          <ac:spMkLst>
            <pc:docMk/>
            <pc:sldMk cId="304257319" sldId="2076137160"/>
            <ac:spMk id="91" creationId="{30A9A115-4288-7E77-A727-F5CF75535AA4}"/>
          </ac:spMkLst>
        </pc:spChg>
        <pc:spChg chg="add mod">
          <ac:chgData name="Schindler, Diana" userId="5d2d35c8-52b3-424f-9285-822ca605bab7" providerId="ADAL" clId="{F210D7CE-8124-2A4F-ACFD-C7A55A9BD0F0}" dt="2022-08-20T18:00:11.531" v="1099" actId="14100"/>
          <ac:spMkLst>
            <pc:docMk/>
            <pc:sldMk cId="304257319" sldId="2076137160"/>
            <ac:spMk id="92" creationId="{82F5E4A8-F013-0787-46D1-58EB1E900B8F}"/>
          </ac:spMkLst>
        </pc:spChg>
        <pc:spChg chg="add mod">
          <ac:chgData name="Schindler, Diana" userId="5d2d35c8-52b3-424f-9285-822ca605bab7" providerId="ADAL" clId="{F210D7CE-8124-2A4F-ACFD-C7A55A9BD0F0}" dt="2022-08-20T18:00:23.967" v="1102" actId="14100"/>
          <ac:spMkLst>
            <pc:docMk/>
            <pc:sldMk cId="304257319" sldId="2076137160"/>
            <ac:spMk id="93" creationId="{90CDC415-06BF-A10F-6A24-41223661B030}"/>
          </ac:spMkLst>
        </pc:spChg>
        <pc:spChg chg="add mod">
          <ac:chgData name="Schindler, Diana" userId="5d2d35c8-52b3-424f-9285-822ca605bab7" providerId="ADAL" clId="{F210D7CE-8124-2A4F-ACFD-C7A55A9BD0F0}" dt="2022-08-20T18:00:56.364" v="1163" actId="20577"/>
          <ac:spMkLst>
            <pc:docMk/>
            <pc:sldMk cId="304257319" sldId="2076137160"/>
            <ac:spMk id="94" creationId="{6308DBD9-97BA-207B-9983-3FE5A6D17518}"/>
          </ac:spMkLst>
        </pc:spChg>
        <pc:grpChg chg="add del mod">
          <ac:chgData name="Schindler, Diana" userId="5d2d35c8-52b3-424f-9285-822ca605bab7" providerId="ADAL" clId="{F210D7CE-8124-2A4F-ACFD-C7A55A9BD0F0}" dt="2022-08-20T17:51:59.325" v="731" actId="478"/>
          <ac:grpSpMkLst>
            <pc:docMk/>
            <pc:sldMk cId="304257319" sldId="2076137160"/>
            <ac:grpSpMk id="10" creationId="{BFCE4ACE-4B64-E3BA-7EDA-AEACCF700099}"/>
          </ac:grpSpMkLst>
        </pc:grpChg>
        <pc:grpChg chg="add mod">
          <ac:chgData name="Schindler, Diana" userId="5d2d35c8-52b3-424f-9285-822ca605bab7" providerId="ADAL" clId="{F210D7CE-8124-2A4F-ACFD-C7A55A9BD0F0}" dt="2022-08-20T17:47:20.403" v="650" actId="1076"/>
          <ac:grpSpMkLst>
            <pc:docMk/>
            <pc:sldMk cId="304257319" sldId="2076137160"/>
            <ac:grpSpMk id="11" creationId="{6B91A6C4-D488-05EE-5579-494115DEF83D}"/>
          </ac:grpSpMkLst>
        </pc:grpChg>
        <pc:grpChg chg="add mod">
          <ac:chgData name="Schindler, Diana" userId="5d2d35c8-52b3-424f-9285-822ca605bab7" providerId="ADAL" clId="{F210D7CE-8124-2A4F-ACFD-C7A55A9BD0F0}" dt="2022-08-20T17:46:17.229" v="637" actId="14100"/>
          <ac:grpSpMkLst>
            <pc:docMk/>
            <pc:sldMk cId="304257319" sldId="2076137160"/>
            <ac:grpSpMk id="14" creationId="{1FCA8EF2-C809-9AB8-A7F4-0C78BB729EBF}"/>
          </ac:grpSpMkLst>
        </pc:grpChg>
        <pc:grpChg chg="add mod">
          <ac:chgData name="Schindler, Diana" userId="5d2d35c8-52b3-424f-9285-822ca605bab7" providerId="ADAL" clId="{F210D7CE-8124-2A4F-ACFD-C7A55A9BD0F0}" dt="2022-08-20T17:47:13.260" v="646" actId="1076"/>
          <ac:grpSpMkLst>
            <pc:docMk/>
            <pc:sldMk cId="304257319" sldId="2076137160"/>
            <ac:grpSpMk id="15" creationId="{AD8CED62-692A-1823-25D4-6D7A010DD3E8}"/>
          </ac:grpSpMkLst>
        </pc:grpChg>
        <pc:grpChg chg="add mod">
          <ac:chgData name="Schindler, Diana" userId="5d2d35c8-52b3-424f-9285-822ca605bab7" providerId="ADAL" clId="{F210D7CE-8124-2A4F-ACFD-C7A55A9BD0F0}" dt="2022-08-20T17:47:09.017" v="644" actId="1076"/>
          <ac:grpSpMkLst>
            <pc:docMk/>
            <pc:sldMk cId="304257319" sldId="2076137160"/>
            <ac:grpSpMk id="16" creationId="{A4411221-37AF-BCF1-8985-A71A29EDAB32}"/>
          </ac:grpSpMkLst>
        </pc:grpChg>
        <pc:grpChg chg="add mod">
          <ac:chgData name="Schindler, Diana" userId="5d2d35c8-52b3-424f-9285-822ca605bab7" providerId="ADAL" clId="{F210D7CE-8124-2A4F-ACFD-C7A55A9BD0F0}" dt="2022-08-20T17:47:16.724" v="648" actId="1076"/>
          <ac:grpSpMkLst>
            <pc:docMk/>
            <pc:sldMk cId="304257319" sldId="2076137160"/>
            <ac:grpSpMk id="48" creationId="{1D83DAE4-C87D-19A4-4A30-E8B45DC257FC}"/>
          </ac:grpSpMkLst>
        </pc:grpChg>
        <pc:grpChg chg="add mod">
          <ac:chgData name="Schindler, Diana" userId="5d2d35c8-52b3-424f-9285-822ca605bab7" providerId="ADAL" clId="{F210D7CE-8124-2A4F-ACFD-C7A55A9BD0F0}" dt="2022-08-20T17:47:26.242" v="652" actId="1076"/>
          <ac:grpSpMkLst>
            <pc:docMk/>
            <pc:sldMk cId="304257319" sldId="2076137160"/>
            <ac:grpSpMk id="58" creationId="{02D72FDB-BFF0-7C3F-C1C6-05AF4BC09204}"/>
          </ac:grpSpMkLst>
        </pc:grpChg>
        <pc:grpChg chg="add mod">
          <ac:chgData name="Schindler, Diana" userId="5d2d35c8-52b3-424f-9285-822ca605bab7" providerId="ADAL" clId="{F210D7CE-8124-2A4F-ACFD-C7A55A9BD0F0}" dt="2022-08-20T17:52:29.948" v="733" actId="1076"/>
          <ac:grpSpMkLst>
            <pc:docMk/>
            <pc:sldMk cId="304257319" sldId="2076137160"/>
            <ac:grpSpMk id="68" creationId="{ECB7E71A-61B6-D291-F985-9165F7C2E31D}"/>
          </ac:grpSpMkLst>
        </pc:grpChg>
        <pc:grpChg chg="add mod">
          <ac:chgData name="Schindler, Diana" userId="5d2d35c8-52b3-424f-9285-822ca605bab7" providerId="ADAL" clId="{F210D7CE-8124-2A4F-ACFD-C7A55A9BD0F0}" dt="2022-08-20T17:52:33.603" v="735" actId="1076"/>
          <ac:grpSpMkLst>
            <pc:docMk/>
            <pc:sldMk cId="304257319" sldId="2076137160"/>
            <ac:grpSpMk id="69" creationId="{47A22566-ED8E-9677-84F8-574029B42764}"/>
          </ac:grpSpMkLst>
        </pc:grpChg>
        <pc:grpChg chg="add mod">
          <ac:chgData name="Schindler, Diana" userId="5d2d35c8-52b3-424f-9285-822ca605bab7" providerId="ADAL" clId="{F210D7CE-8124-2A4F-ACFD-C7A55A9BD0F0}" dt="2022-08-20T17:52:36.725" v="737" actId="1076"/>
          <ac:grpSpMkLst>
            <pc:docMk/>
            <pc:sldMk cId="304257319" sldId="2076137160"/>
            <ac:grpSpMk id="73" creationId="{193FFFE7-56EE-699E-D9F0-10BFB539B106}"/>
          </ac:grpSpMkLst>
        </pc:grpChg>
        <pc:grpChg chg="add mod">
          <ac:chgData name="Schindler, Diana" userId="5d2d35c8-52b3-424f-9285-822ca605bab7" providerId="ADAL" clId="{F210D7CE-8124-2A4F-ACFD-C7A55A9BD0F0}" dt="2022-08-20T17:52:40.797" v="739" actId="1076"/>
          <ac:grpSpMkLst>
            <pc:docMk/>
            <pc:sldMk cId="304257319" sldId="2076137160"/>
            <ac:grpSpMk id="77" creationId="{A004DC34-8EAE-FA8D-6620-91250012EF12}"/>
          </ac:grpSpMkLst>
        </pc:grpChg>
        <pc:grpChg chg="add mod">
          <ac:chgData name="Schindler, Diana" userId="5d2d35c8-52b3-424f-9285-822ca605bab7" providerId="ADAL" clId="{F210D7CE-8124-2A4F-ACFD-C7A55A9BD0F0}" dt="2022-08-20T17:52:44.336" v="741" actId="1076"/>
          <ac:grpSpMkLst>
            <pc:docMk/>
            <pc:sldMk cId="304257319" sldId="2076137160"/>
            <ac:grpSpMk id="81" creationId="{5875D805-2913-F40B-6740-5B74A8F7F5A1}"/>
          </ac:grpSpMkLst>
        </pc:grpChg>
        <pc:grpChg chg="add mod">
          <ac:chgData name="Schindler, Diana" userId="5d2d35c8-52b3-424f-9285-822ca605bab7" providerId="ADAL" clId="{F210D7CE-8124-2A4F-ACFD-C7A55A9BD0F0}" dt="2022-08-20T17:52:51.754" v="743" actId="1076"/>
          <ac:grpSpMkLst>
            <pc:docMk/>
            <pc:sldMk cId="304257319" sldId="2076137160"/>
            <ac:grpSpMk id="85" creationId="{7A927E4D-952A-5629-FA21-A5008CD3CF71}"/>
          </ac:grpSpMkLst>
        </pc:grpChg>
        <pc:picChg chg="add mod">
          <ac:chgData name="Schindler, Diana" userId="5d2d35c8-52b3-424f-9285-822ca605bab7" providerId="ADAL" clId="{F210D7CE-8124-2A4F-ACFD-C7A55A9BD0F0}" dt="2022-08-20T17:45:53.418" v="634" actId="164"/>
          <ac:picMkLst>
            <pc:docMk/>
            <pc:sldMk cId="304257319" sldId="2076137160"/>
            <ac:picMk id="5" creationId="{83444A1F-6F09-5E26-7465-3751A0C5B894}"/>
          </ac:picMkLst>
        </pc:picChg>
        <pc:picChg chg="add mod">
          <ac:chgData name="Schindler, Diana" userId="5d2d35c8-52b3-424f-9285-822ca605bab7" providerId="ADAL" clId="{F210D7CE-8124-2A4F-ACFD-C7A55A9BD0F0}" dt="2022-08-20T17:54:27.391" v="751" actId="14100"/>
          <ac:picMkLst>
            <pc:docMk/>
            <pc:sldMk cId="304257319" sldId="2076137160"/>
            <ac:picMk id="8" creationId="{B1957C95-ECFD-C4B5-769E-8308A48E1462}"/>
          </ac:picMkLst>
        </pc:picChg>
        <pc:picChg chg="add del mod">
          <ac:chgData name="Schindler, Diana" userId="5d2d35c8-52b3-424f-9285-822ca605bab7" providerId="ADAL" clId="{F210D7CE-8124-2A4F-ACFD-C7A55A9BD0F0}" dt="2022-08-19T15:11:40.442" v="12" actId="478"/>
          <ac:picMkLst>
            <pc:docMk/>
            <pc:sldMk cId="304257319" sldId="2076137160"/>
            <ac:picMk id="8" creationId="{FC44B0DF-26B3-D8CF-B6C7-F47CD95FCF1B}"/>
          </ac:picMkLst>
        </pc:picChg>
        <pc:picChg chg="add mod">
          <ac:chgData name="Schindler, Diana" userId="5d2d35c8-52b3-424f-9285-822ca605bab7" providerId="ADAL" clId="{F210D7CE-8124-2A4F-ACFD-C7A55A9BD0F0}" dt="2022-08-19T15:17:11.928" v="40" actId="164"/>
          <ac:picMkLst>
            <pc:docMk/>
            <pc:sldMk cId="304257319" sldId="2076137160"/>
            <ac:picMk id="12" creationId="{5192A4F0-571A-BC48-1E47-CDD088777979}"/>
          </ac:picMkLst>
        </pc:picChg>
        <pc:picChg chg="add mod">
          <ac:chgData name="Schindler, Diana" userId="5d2d35c8-52b3-424f-9285-822ca605bab7" providerId="ADAL" clId="{F210D7CE-8124-2A4F-ACFD-C7A55A9BD0F0}" dt="2022-08-19T15:17:31.800" v="41" actId="164"/>
          <ac:picMkLst>
            <pc:docMk/>
            <pc:sldMk cId="304257319" sldId="2076137160"/>
            <ac:picMk id="13" creationId="{985D982E-DCC0-0EE8-CE20-82458C5B81DC}"/>
          </ac:picMkLst>
        </pc:picChg>
        <pc:picChg chg="del mod">
          <ac:chgData name="Schindler, Diana" userId="5d2d35c8-52b3-424f-9285-822ca605bab7" providerId="ADAL" clId="{F210D7CE-8124-2A4F-ACFD-C7A55A9BD0F0}" dt="2022-08-21T16:23:42.183" v="1453" actId="478"/>
          <ac:picMkLst>
            <pc:docMk/>
            <pc:sldMk cId="304257319" sldId="2076137160"/>
            <ac:picMk id="23" creationId="{82FF1A6C-A66A-9245-8FEA-8890212E6F34}"/>
          </ac:picMkLst>
        </pc:picChg>
        <pc:picChg chg="mod">
          <ac:chgData name="Schindler, Diana" userId="5d2d35c8-52b3-424f-9285-822ca605bab7" providerId="ADAL" clId="{F210D7CE-8124-2A4F-ACFD-C7A55A9BD0F0}" dt="2022-08-19T15:18:57.281" v="58" actId="164"/>
          <ac:picMkLst>
            <pc:docMk/>
            <pc:sldMk cId="304257319" sldId="2076137160"/>
            <ac:picMk id="24" creationId="{168898B8-7E4F-CE40-B3CD-D2A0C5E4313F}"/>
          </ac:picMkLst>
        </pc:picChg>
        <pc:picChg chg="del mod">
          <ac:chgData name="Schindler, Diana" userId="5d2d35c8-52b3-424f-9285-822ca605bab7" providerId="ADAL" clId="{F210D7CE-8124-2A4F-ACFD-C7A55A9BD0F0}" dt="2022-08-21T16:23:40.575" v="1452" actId="478"/>
          <ac:picMkLst>
            <pc:docMk/>
            <pc:sldMk cId="304257319" sldId="2076137160"/>
            <ac:picMk id="25" creationId="{8664CD31-C117-0A4C-A8BA-54F9B37E2FA0}"/>
          </ac:picMkLst>
        </pc:picChg>
        <pc:picChg chg="del mod">
          <ac:chgData name="Schindler, Diana" userId="5d2d35c8-52b3-424f-9285-822ca605bab7" providerId="ADAL" clId="{F210D7CE-8124-2A4F-ACFD-C7A55A9BD0F0}" dt="2022-08-21T16:23:38.390" v="1451" actId="478"/>
          <ac:picMkLst>
            <pc:docMk/>
            <pc:sldMk cId="304257319" sldId="2076137160"/>
            <ac:picMk id="26" creationId="{084A77EF-54E6-C545-BDCD-BBFCAAA9B2E2}"/>
          </ac:picMkLst>
        </pc:picChg>
        <pc:picChg chg="mod">
          <ac:chgData name="Schindler, Diana" userId="5d2d35c8-52b3-424f-9285-822ca605bab7" providerId="ADAL" clId="{F210D7CE-8124-2A4F-ACFD-C7A55A9BD0F0}" dt="2022-08-20T17:43:19.302" v="570" actId="164"/>
          <ac:picMkLst>
            <pc:docMk/>
            <pc:sldMk cId="304257319" sldId="2076137160"/>
            <ac:picMk id="28" creationId="{DF3208D9-EE03-5E4B-8EA5-C0EA73850526}"/>
          </ac:picMkLst>
        </pc:picChg>
        <pc:picChg chg="add del mod">
          <ac:chgData name="Schindler, Diana" userId="5d2d35c8-52b3-424f-9285-822ca605bab7" providerId="ADAL" clId="{F210D7CE-8124-2A4F-ACFD-C7A55A9BD0F0}" dt="2022-08-19T15:20:40.931" v="69" actId="478"/>
          <ac:picMkLst>
            <pc:docMk/>
            <pc:sldMk cId="304257319" sldId="2076137160"/>
            <ac:picMk id="29" creationId="{4B2DBABA-B5D4-B982-D3DB-38719B60AB14}"/>
          </ac:picMkLst>
        </pc:picChg>
        <pc:picChg chg="mod">
          <ac:chgData name="Schindler, Diana" userId="5d2d35c8-52b3-424f-9285-822ca605bab7" providerId="ADAL" clId="{F210D7CE-8124-2A4F-ACFD-C7A55A9BD0F0}" dt="2022-08-20T17:43:22.316" v="571"/>
          <ac:picMkLst>
            <pc:docMk/>
            <pc:sldMk cId="304257319" sldId="2076137160"/>
            <ac:picMk id="30" creationId="{CA0CD697-3774-DB11-71FA-24338A2063DF}"/>
          </ac:picMkLst>
        </pc:picChg>
        <pc:picChg chg="add mod">
          <ac:chgData name="Schindler, Diana" userId="5d2d35c8-52b3-424f-9285-822ca605bab7" providerId="ADAL" clId="{F210D7CE-8124-2A4F-ACFD-C7A55A9BD0F0}" dt="2022-08-20T17:54:06.655" v="747" actId="14100"/>
          <ac:picMkLst>
            <pc:docMk/>
            <pc:sldMk cId="304257319" sldId="2076137160"/>
            <ac:picMk id="32" creationId="{482006D9-73C6-1FC8-D548-BB8A44AA7A43}"/>
          </ac:picMkLst>
        </pc:picChg>
        <pc:picChg chg="add mod">
          <ac:chgData name="Schindler, Diana" userId="5d2d35c8-52b3-424f-9285-822ca605bab7" providerId="ADAL" clId="{F210D7CE-8124-2A4F-ACFD-C7A55A9BD0F0}" dt="2022-08-20T17:54:12.138" v="748" actId="14100"/>
          <ac:picMkLst>
            <pc:docMk/>
            <pc:sldMk cId="304257319" sldId="2076137160"/>
            <ac:picMk id="35" creationId="{8CD86BB9-6FD3-5D4D-0A07-915B6BB8055F}"/>
          </ac:picMkLst>
        </pc:picChg>
        <pc:picChg chg="add del mod">
          <ac:chgData name="Schindler, Diana" userId="5d2d35c8-52b3-424f-9285-822ca605bab7" providerId="ADAL" clId="{F210D7CE-8124-2A4F-ACFD-C7A55A9BD0F0}" dt="2022-08-20T17:45:20.512" v="594" actId="478"/>
          <ac:picMkLst>
            <pc:docMk/>
            <pc:sldMk cId="304257319" sldId="2076137160"/>
            <ac:picMk id="37" creationId="{8EBAC6BC-1096-E79E-CE77-C6E27AA2DE57}"/>
          </ac:picMkLst>
        </pc:picChg>
        <pc:picChg chg="add mod">
          <ac:chgData name="Schindler, Diana" userId="5d2d35c8-52b3-424f-9285-822ca605bab7" providerId="ADAL" clId="{F210D7CE-8124-2A4F-ACFD-C7A55A9BD0F0}" dt="2022-08-20T17:54:16.957" v="749" actId="14100"/>
          <ac:picMkLst>
            <pc:docMk/>
            <pc:sldMk cId="304257319" sldId="2076137160"/>
            <ac:picMk id="38" creationId="{8EDA749B-9ADE-73F8-9756-231D9601D51E}"/>
          </ac:picMkLst>
        </pc:picChg>
        <pc:picChg chg="add del mod">
          <ac:chgData name="Schindler, Diana" userId="5d2d35c8-52b3-424f-9285-822ca605bab7" providerId="ADAL" clId="{F210D7CE-8124-2A4F-ACFD-C7A55A9BD0F0}" dt="2022-08-19T15:26:11.228" v="183" actId="478"/>
          <ac:picMkLst>
            <pc:docMk/>
            <pc:sldMk cId="304257319" sldId="2076137160"/>
            <ac:picMk id="41" creationId="{C2C0CB4F-3AF5-2993-99D1-686C6B5560DD}"/>
          </ac:picMkLst>
        </pc:picChg>
        <pc:picChg chg="add mod">
          <ac:chgData name="Schindler, Diana" userId="5d2d35c8-52b3-424f-9285-822ca605bab7" providerId="ADAL" clId="{F210D7CE-8124-2A4F-ACFD-C7A55A9BD0F0}" dt="2022-08-20T17:54:01.717" v="746" actId="14100"/>
          <ac:picMkLst>
            <pc:docMk/>
            <pc:sldMk cId="304257319" sldId="2076137160"/>
            <ac:picMk id="44" creationId="{A12F471F-4CB9-49FB-5F8C-40BB1FD91AE3}"/>
          </ac:picMkLst>
        </pc:picChg>
        <pc:picChg chg="add mod">
          <ac:chgData name="Schindler, Diana" userId="5d2d35c8-52b3-424f-9285-822ca605bab7" providerId="ADAL" clId="{F210D7CE-8124-2A4F-ACFD-C7A55A9BD0F0}" dt="2022-08-20T17:55:04.853" v="754" actId="207"/>
          <ac:picMkLst>
            <pc:docMk/>
            <pc:sldMk cId="304257319" sldId="2076137160"/>
            <ac:picMk id="45" creationId="{CE738D42-EA8D-3241-A8E3-75FF5E7649D7}"/>
          </ac:picMkLst>
        </pc:picChg>
        <pc:picChg chg="add mod">
          <ac:chgData name="Schindler, Diana" userId="5d2d35c8-52b3-424f-9285-822ca605bab7" providerId="ADAL" clId="{F210D7CE-8124-2A4F-ACFD-C7A55A9BD0F0}" dt="2022-08-20T17:53:56.674" v="745" actId="14100"/>
          <ac:picMkLst>
            <pc:docMk/>
            <pc:sldMk cId="304257319" sldId="2076137160"/>
            <ac:picMk id="46" creationId="{9FAED4A5-F2CA-905E-9C8A-5CB7E4589019}"/>
          </ac:picMkLst>
        </pc:picChg>
        <pc:picChg chg="add mod">
          <ac:chgData name="Schindler, Diana" userId="5d2d35c8-52b3-424f-9285-822ca605bab7" providerId="ADAL" clId="{F210D7CE-8124-2A4F-ACFD-C7A55A9BD0F0}" dt="2022-08-20T17:54:22.685" v="750" actId="14100"/>
          <ac:picMkLst>
            <pc:docMk/>
            <pc:sldMk cId="304257319" sldId="2076137160"/>
            <ac:picMk id="49" creationId="{259A39DA-9EB3-6A0D-3677-0251B62333EA}"/>
          </ac:picMkLst>
        </pc:picChg>
        <pc:picChg chg="mod">
          <ac:chgData name="Schindler, Diana" userId="5d2d35c8-52b3-424f-9285-822ca605bab7" providerId="ADAL" clId="{F210D7CE-8124-2A4F-ACFD-C7A55A9BD0F0}" dt="2022-08-20T17:47:23.765" v="651"/>
          <ac:picMkLst>
            <pc:docMk/>
            <pc:sldMk cId="304257319" sldId="2076137160"/>
            <ac:picMk id="61" creationId="{7FFCBB09-2D67-A9F0-24A5-D4B36DA47513}"/>
          </ac:picMkLst>
        </pc:picChg>
        <pc:picChg chg="add mod">
          <ac:chgData name="Schindler, Diana" userId="5d2d35c8-52b3-424f-9285-822ca605bab7" providerId="ADAL" clId="{F210D7CE-8124-2A4F-ACFD-C7A55A9BD0F0}" dt="2022-08-20T17:59:28.019" v="1079" actId="1582"/>
          <ac:picMkLst>
            <pc:docMk/>
            <pc:sldMk cId="304257319" sldId="2076137160"/>
            <ac:picMk id="62" creationId="{1E02EB68-E490-E87A-70CF-EBEDBC17BBF9}"/>
          </ac:picMkLst>
        </pc:picChg>
        <pc:picChg chg="add del mod">
          <ac:chgData name="Schindler, Diana" userId="5d2d35c8-52b3-424f-9285-822ca605bab7" providerId="ADAL" clId="{F210D7CE-8124-2A4F-ACFD-C7A55A9BD0F0}" dt="2022-08-20T17:47:58.527" v="660" actId="478"/>
          <ac:picMkLst>
            <pc:docMk/>
            <pc:sldMk cId="304257319" sldId="2076137160"/>
            <ac:picMk id="64" creationId="{46C3D33B-489E-9C3D-A0C1-105090E7B202}"/>
          </ac:picMkLst>
        </pc:picChg>
        <pc:picChg chg="mod">
          <ac:chgData name="Schindler, Diana" userId="5d2d35c8-52b3-424f-9285-822ca605bab7" providerId="ADAL" clId="{F210D7CE-8124-2A4F-ACFD-C7A55A9BD0F0}" dt="2022-08-20T17:52:33.603" v="735" actId="1076"/>
          <ac:picMkLst>
            <pc:docMk/>
            <pc:sldMk cId="304257319" sldId="2076137160"/>
            <ac:picMk id="71" creationId="{18F10A87-6EF3-E790-F82A-739FA74B552A}"/>
          </ac:picMkLst>
        </pc:picChg>
        <pc:picChg chg="mod">
          <ac:chgData name="Schindler, Diana" userId="5d2d35c8-52b3-424f-9285-822ca605bab7" providerId="ADAL" clId="{F210D7CE-8124-2A4F-ACFD-C7A55A9BD0F0}" dt="2022-08-20T17:52:36.725" v="737" actId="1076"/>
          <ac:picMkLst>
            <pc:docMk/>
            <pc:sldMk cId="304257319" sldId="2076137160"/>
            <ac:picMk id="75" creationId="{6DFA8F0F-CA27-D86F-3328-D4C50A7E4666}"/>
          </ac:picMkLst>
        </pc:picChg>
        <pc:picChg chg="mod">
          <ac:chgData name="Schindler, Diana" userId="5d2d35c8-52b3-424f-9285-822ca605bab7" providerId="ADAL" clId="{F210D7CE-8124-2A4F-ACFD-C7A55A9BD0F0}" dt="2022-08-20T17:52:40.797" v="739" actId="1076"/>
          <ac:picMkLst>
            <pc:docMk/>
            <pc:sldMk cId="304257319" sldId="2076137160"/>
            <ac:picMk id="79" creationId="{ED295962-F667-779F-D4E9-0261C3ACA875}"/>
          </ac:picMkLst>
        </pc:picChg>
        <pc:picChg chg="mod">
          <ac:chgData name="Schindler, Diana" userId="5d2d35c8-52b3-424f-9285-822ca605bab7" providerId="ADAL" clId="{F210D7CE-8124-2A4F-ACFD-C7A55A9BD0F0}" dt="2022-08-20T17:52:44.336" v="741" actId="1076"/>
          <ac:picMkLst>
            <pc:docMk/>
            <pc:sldMk cId="304257319" sldId="2076137160"/>
            <ac:picMk id="83" creationId="{9B4232D9-CA4E-1F0B-546F-68676D39AD7F}"/>
          </ac:picMkLst>
        </pc:picChg>
        <pc:picChg chg="mod">
          <ac:chgData name="Schindler, Diana" userId="5d2d35c8-52b3-424f-9285-822ca605bab7" providerId="ADAL" clId="{F210D7CE-8124-2A4F-ACFD-C7A55A9BD0F0}" dt="2022-08-20T17:52:51.754" v="743" actId="1076"/>
          <ac:picMkLst>
            <pc:docMk/>
            <pc:sldMk cId="304257319" sldId="2076137160"/>
            <ac:picMk id="87" creationId="{EBADA3AB-501C-89DB-5B8F-A94D823B56FB}"/>
          </ac:picMkLst>
        </pc:picChg>
        <pc:picChg chg="add del mod">
          <ac:chgData name="Schindler, Diana" userId="5d2d35c8-52b3-424f-9285-822ca605bab7" providerId="ADAL" clId="{F210D7CE-8124-2A4F-ACFD-C7A55A9BD0F0}" dt="2022-08-20T17:56:03.129" v="759" actId="478"/>
          <ac:picMkLst>
            <pc:docMk/>
            <pc:sldMk cId="304257319" sldId="2076137160"/>
            <ac:picMk id="90" creationId="{FB02B929-D84C-EF59-83D7-2072E3495A35}"/>
          </ac:picMkLst>
        </pc:picChg>
        <pc:picChg chg="add mod">
          <ac:chgData name="Schindler, Diana" userId="5d2d35c8-52b3-424f-9285-822ca605bab7" providerId="ADAL" clId="{F210D7CE-8124-2A4F-ACFD-C7A55A9BD0F0}" dt="2022-08-20T17:52:29.948" v="733" actId="1076"/>
          <ac:picMkLst>
            <pc:docMk/>
            <pc:sldMk cId="304257319" sldId="2076137160"/>
            <ac:picMk id="1026" creationId="{ADC59D83-6534-B71C-3DCE-A81C14450F6E}"/>
          </ac:picMkLst>
        </pc:picChg>
      </pc:sldChg>
      <pc:sldChg chg="new del">
        <pc:chgData name="Schindler, Diana" userId="5d2d35c8-52b3-424f-9285-822ca605bab7" providerId="ADAL" clId="{F210D7CE-8124-2A4F-ACFD-C7A55A9BD0F0}" dt="2022-08-19T15:08:08.934" v="4" actId="680"/>
        <pc:sldMkLst>
          <pc:docMk/>
          <pc:sldMk cId="865983722" sldId="2076137161"/>
        </pc:sldMkLst>
      </pc:sldChg>
      <pc:sldChg chg="addSp delSp modSp add mod">
        <pc:chgData name="Schindler, Diana" userId="5d2d35c8-52b3-424f-9285-822ca605bab7" providerId="ADAL" clId="{F210D7CE-8124-2A4F-ACFD-C7A55A9BD0F0}" dt="2022-08-19T15:31:17.146" v="341" actId="20577"/>
        <pc:sldMkLst>
          <pc:docMk/>
          <pc:sldMk cId="2425629002" sldId="2076137161"/>
        </pc:sldMkLst>
        <pc:spChg chg="del">
          <ac:chgData name="Schindler, Diana" userId="5d2d35c8-52b3-424f-9285-822ca605bab7" providerId="ADAL" clId="{F210D7CE-8124-2A4F-ACFD-C7A55A9BD0F0}" dt="2022-08-19T15:29:23.709" v="234" actId="478"/>
          <ac:spMkLst>
            <pc:docMk/>
            <pc:sldMk cId="2425629002" sldId="2076137161"/>
            <ac:spMk id="2" creationId="{2626170C-A8C1-4A45-815F-48C84D9F889B}"/>
          </ac:spMkLst>
        </pc:spChg>
        <pc:spChg chg="add mod">
          <ac:chgData name="Schindler, Diana" userId="5d2d35c8-52b3-424f-9285-822ca605bab7" providerId="ADAL" clId="{F210D7CE-8124-2A4F-ACFD-C7A55A9BD0F0}" dt="2022-08-19T15:30:24.756" v="271" actId="1076"/>
          <ac:spMkLst>
            <pc:docMk/>
            <pc:sldMk cId="2425629002" sldId="2076137161"/>
            <ac:spMk id="5" creationId="{A2E450EB-2FB4-9B9E-541F-8152A043ECC4}"/>
          </ac:spMkLst>
        </pc:spChg>
        <pc:spChg chg="add mod">
          <ac:chgData name="Schindler, Diana" userId="5d2d35c8-52b3-424f-9285-822ca605bab7" providerId="ADAL" clId="{F210D7CE-8124-2A4F-ACFD-C7A55A9BD0F0}" dt="2022-08-19T15:30:44.271" v="292" actId="14100"/>
          <ac:spMkLst>
            <pc:docMk/>
            <pc:sldMk cId="2425629002" sldId="2076137161"/>
            <ac:spMk id="7" creationId="{5EA327E6-D755-E93C-D121-83017D032ECA}"/>
          </ac:spMkLst>
        </pc:spChg>
        <pc:spChg chg="add mod">
          <ac:chgData name="Schindler, Diana" userId="5d2d35c8-52b3-424f-9285-822ca605bab7" providerId="ADAL" clId="{F210D7CE-8124-2A4F-ACFD-C7A55A9BD0F0}" dt="2022-08-19T15:31:08.463" v="327" actId="14100"/>
          <ac:spMkLst>
            <pc:docMk/>
            <pc:sldMk cId="2425629002" sldId="2076137161"/>
            <ac:spMk id="8" creationId="{2CAB560F-FD76-78E6-3988-019D650A2FC7}"/>
          </ac:spMkLst>
        </pc:spChg>
        <pc:spChg chg="add mod">
          <ac:chgData name="Schindler, Diana" userId="5d2d35c8-52b3-424f-9285-822ca605bab7" providerId="ADAL" clId="{F210D7CE-8124-2A4F-ACFD-C7A55A9BD0F0}" dt="2022-08-19T15:31:17.146" v="341" actId="20577"/>
          <ac:spMkLst>
            <pc:docMk/>
            <pc:sldMk cId="2425629002" sldId="2076137161"/>
            <ac:spMk id="9" creationId="{84857EDF-C7B5-ACDE-9769-F491F4ACC024}"/>
          </ac:spMkLst>
        </pc:spChg>
        <pc:spChg chg="del">
          <ac:chgData name="Schindler, Diana" userId="5d2d35c8-52b3-424f-9285-822ca605bab7" providerId="ADAL" clId="{F210D7CE-8124-2A4F-ACFD-C7A55A9BD0F0}" dt="2022-08-19T15:29:23.709" v="234" actId="478"/>
          <ac:spMkLst>
            <pc:docMk/>
            <pc:sldMk cId="2425629002" sldId="2076137161"/>
            <ac:spMk id="17" creationId="{EF32B42B-270A-851F-268E-F03D951907A2}"/>
          </ac:spMkLst>
        </pc:spChg>
        <pc:spChg chg="del">
          <ac:chgData name="Schindler, Diana" userId="5d2d35c8-52b3-424f-9285-822ca605bab7" providerId="ADAL" clId="{F210D7CE-8124-2A4F-ACFD-C7A55A9BD0F0}" dt="2022-08-19T15:29:23.709" v="234" actId="478"/>
          <ac:spMkLst>
            <pc:docMk/>
            <pc:sldMk cId="2425629002" sldId="2076137161"/>
            <ac:spMk id="21" creationId="{8BBB79E5-7300-774D-B1B9-7F2C771CE074}"/>
          </ac:spMkLst>
        </pc:spChg>
        <pc:spChg chg="del">
          <ac:chgData name="Schindler, Diana" userId="5d2d35c8-52b3-424f-9285-822ca605bab7" providerId="ADAL" clId="{F210D7CE-8124-2A4F-ACFD-C7A55A9BD0F0}" dt="2022-08-19T15:29:23.709" v="234" actId="478"/>
          <ac:spMkLst>
            <pc:docMk/>
            <pc:sldMk cId="2425629002" sldId="2076137161"/>
            <ac:spMk id="22" creationId="{966C44C9-863D-0A4D-9A07-E83D75725239}"/>
          </ac:spMkLst>
        </pc:spChg>
        <pc:spChg chg="del">
          <ac:chgData name="Schindler, Diana" userId="5d2d35c8-52b3-424f-9285-822ca605bab7" providerId="ADAL" clId="{F210D7CE-8124-2A4F-ACFD-C7A55A9BD0F0}" dt="2022-08-19T15:29:23.709" v="234" actId="478"/>
          <ac:spMkLst>
            <pc:docMk/>
            <pc:sldMk cId="2425629002" sldId="2076137161"/>
            <ac:spMk id="40" creationId="{CACCC1C1-A0F7-9D4D-B1E6-619755C90D52}"/>
          </ac:spMkLst>
        </pc:spChg>
        <pc:spChg chg="mod">
          <ac:chgData name="Schindler, Diana" userId="5d2d35c8-52b3-424f-9285-822ca605bab7" providerId="ADAL" clId="{F210D7CE-8124-2A4F-ACFD-C7A55A9BD0F0}" dt="2022-08-19T15:30:50.654" v="309" actId="20577"/>
          <ac:spMkLst>
            <pc:docMk/>
            <pc:sldMk cId="2425629002" sldId="2076137161"/>
            <ac:spMk id="47" creationId="{C0833E84-52AD-D444-E520-0247E275D8F6}"/>
          </ac:spMkLst>
        </pc:spChg>
        <pc:spChg chg="del">
          <ac:chgData name="Schindler, Diana" userId="5d2d35c8-52b3-424f-9285-822ca605bab7" providerId="ADAL" clId="{F210D7CE-8124-2A4F-ACFD-C7A55A9BD0F0}" dt="2022-08-19T15:29:23.709" v="234" actId="478"/>
          <ac:spMkLst>
            <pc:docMk/>
            <pc:sldMk cId="2425629002" sldId="2076137161"/>
            <ac:spMk id="52" creationId="{C5AD70EA-72EB-2248-ABAC-A1353BE21D8E}"/>
          </ac:spMkLst>
        </pc:spChg>
        <pc:spChg chg="del">
          <ac:chgData name="Schindler, Diana" userId="5d2d35c8-52b3-424f-9285-822ca605bab7" providerId="ADAL" clId="{F210D7CE-8124-2A4F-ACFD-C7A55A9BD0F0}" dt="2022-08-19T15:29:23.709" v="234" actId="478"/>
          <ac:spMkLst>
            <pc:docMk/>
            <pc:sldMk cId="2425629002" sldId="2076137161"/>
            <ac:spMk id="53" creationId="{0CAF08BC-F2FC-4C40-B029-7FEF36F793B6}"/>
          </ac:spMkLst>
        </pc:spChg>
        <pc:spChg chg="del">
          <ac:chgData name="Schindler, Diana" userId="5d2d35c8-52b3-424f-9285-822ca605bab7" providerId="ADAL" clId="{F210D7CE-8124-2A4F-ACFD-C7A55A9BD0F0}" dt="2022-08-19T15:29:23.709" v="234" actId="478"/>
          <ac:spMkLst>
            <pc:docMk/>
            <pc:sldMk cId="2425629002" sldId="2076137161"/>
            <ac:spMk id="56" creationId="{EAFDBA11-7788-E543-9034-8EDDAD2CC582}"/>
          </ac:spMkLst>
        </pc:spChg>
        <pc:spChg chg="del">
          <ac:chgData name="Schindler, Diana" userId="5d2d35c8-52b3-424f-9285-822ca605bab7" providerId="ADAL" clId="{F210D7CE-8124-2A4F-ACFD-C7A55A9BD0F0}" dt="2022-08-19T15:29:23.709" v="234" actId="478"/>
          <ac:spMkLst>
            <pc:docMk/>
            <pc:sldMk cId="2425629002" sldId="2076137161"/>
            <ac:spMk id="57" creationId="{97B64299-0D1A-8D45-A947-6E11858F39E2}"/>
          </ac:spMkLst>
        </pc:spChg>
        <pc:grpChg chg="del">
          <ac:chgData name="Schindler, Diana" userId="5d2d35c8-52b3-424f-9285-822ca605bab7" providerId="ADAL" clId="{F210D7CE-8124-2A4F-ACFD-C7A55A9BD0F0}" dt="2022-08-19T15:29:23.709" v="234" actId="478"/>
          <ac:grpSpMkLst>
            <pc:docMk/>
            <pc:sldMk cId="2425629002" sldId="2076137161"/>
            <ac:grpSpMk id="14" creationId="{1FCA8EF2-C809-9AB8-A7F4-0C78BB729EBF}"/>
          </ac:grpSpMkLst>
        </pc:grpChg>
        <pc:grpChg chg="del">
          <ac:chgData name="Schindler, Diana" userId="5d2d35c8-52b3-424f-9285-822ca605bab7" providerId="ADAL" clId="{F210D7CE-8124-2A4F-ACFD-C7A55A9BD0F0}" dt="2022-08-19T15:29:23.709" v="234" actId="478"/>
          <ac:grpSpMkLst>
            <pc:docMk/>
            <pc:sldMk cId="2425629002" sldId="2076137161"/>
            <ac:grpSpMk id="15" creationId="{AD8CED62-692A-1823-25D4-6D7A010DD3E8}"/>
          </ac:grpSpMkLst>
        </pc:grpChg>
        <pc:grpChg chg="del">
          <ac:chgData name="Schindler, Diana" userId="5d2d35c8-52b3-424f-9285-822ca605bab7" providerId="ADAL" clId="{F210D7CE-8124-2A4F-ACFD-C7A55A9BD0F0}" dt="2022-08-19T15:29:23.709" v="234" actId="478"/>
          <ac:grpSpMkLst>
            <pc:docMk/>
            <pc:sldMk cId="2425629002" sldId="2076137161"/>
            <ac:grpSpMk id="16" creationId="{A4411221-37AF-BCF1-8985-A71A29EDAB32}"/>
          </ac:grpSpMkLst>
        </pc:grpChg>
        <pc:picChg chg="del">
          <ac:chgData name="Schindler, Diana" userId="5d2d35c8-52b3-424f-9285-822ca605bab7" providerId="ADAL" clId="{F210D7CE-8124-2A4F-ACFD-C7A55A9BD0F0}" dt="2022-08-19T15:29:25.844" v="235" actId="478"/>
          <ac:picMkLst>
            <pc:docMk/>
            <pc:sldMk cId="2425629002" sldId="2076137161"/>
            <ac:picMk id="25" creationId="{8664CD31-C117-0A4C-A8BA-54F9B37E2FA0}"/>
          </ac:picMkLst>
        </pc:picChg>
        <pc:picChg chg="del">
          <ac:chgData name="Schindler, Diana" userId="5d2d35c8-52b3-424f-9285-822ca605bab7" providerId="ADAL" clId="{F210D7CE-8124-2A4F-ACFD-C7A55A9BD0F0}" dt="2022-08-19T15:29:23.709" v="234" actId="478"/>
          <ac:picMkLst>
            <pc:docMk/>
            <pc:sldMk cId="2425629002" sldId="2076137161"/>
            <ac:picMk id="26" creationId="{084A77EF-54E6-C545-BDCD-BBFCAAA9B2E2}"/>
          </ac:picMkLst>
        </pc:picChg>
        <pc:picChg chg="del">
          <ac:chgData name="Schindler, Diana" userId="5d2d35c8-52b3-424f-9285-822ca605bab7" providerId="ADAL" clId="{F210D7CE-8124-2A4F-ACFD-C7A55A9BD0F0}" dt="2022-08-19T15:29:23.709" v="234" actId="478"/>
          <ac:picMkLst>
            <pc:docMk/>
            <pc:sldMk cId="2425629002" sldId="2076137161"/>
            <ac:picMk id="28" creationId="{DF3208D9-EE03-5E4B-8EA5-C0EA73850526}"/>
          </ac:picMkLst>
        </pc:picChg>
        <pc:picChg chg="del">
          <ac:chgData name="Schindler, Diana" userId="5d2d35c8-52b3-424f-9285-822ca605bab7" providerId="ADAL" clId="{F210D7CE-8124-2A4F-ACFD-C7A55A9BD0F0}" dt="2022-08-19T15:29:23.709" v="234" actId="478"/>
          <ac:picMkLst>
            <pc:docMk/>
            <pc:sldMk cId="2425629002" sldId="2076137161"/>
            <ac:picMk id="32" creationId="{482006D9-73C6-1FC8-D548-BB8A44AA7A43}"/>
          </ac:picMkLst>
        </pc:picChg>
        <pc:picChg chg="del">
          <ac:chgData name="Schindler, Diana" userId="5d2d35c8-52b3-424f-9285-822ca605bab7" providerId="ADAL" clId="{F210D7CE-8124-2A4F-ACFD-C7A55A9BD0F0}" dt="2022-08-19T15:29:23.709" v="234" actId="478"/>
          <ac:picMkLst>
            <pc:docMk/>
            <pc:sldMk cId="2425629002" sldId="2076137161"/>
            <ac:picMk id="35" creationId="{8CD86BB9-6FD3-5D4D-0A07-915B6BB8055F}"/>
          </ac:picMkLst>
        </pc:picChg>
        <pc:picChg chg="del">
          <ac:chgData name="Schindler, Diana" userId="5d2d35c8-52b3-424f-9285-822ca605bab7" providerId="ADAL" clId="{F210D7CE-8124-2A4F-ACFD-C7A55A9BD0F0}" dt="2022-08-19T15:29:23.709" v="234" actId="478"/>
          <ac:picMkLst>
            <pc:docMk/>
            <pc:sldMk cId="2425629002" sldId="2076137161"/>
            <ac:picMk id="38" creationId="{8EDA749B-9ADE-73F8-9756-231D9601D51E}"/>
          </ac:picMkLst>
        </pc:picChg>
        <pc:picChg chg="del">
          <ac:chgData name="Schindler, Diana" userId="5d2d35c8-52b3-424f-9285-822ca605bab7" providerId="ADAL" clId="{F210D7CE-8124-2A4F-ACFD-C7A55A9BD0F0}" dt="2022-08-19T15:29:23.709" v="234" actId="478"/>
          <ac:picMkLst>
            <pc:docMk/>
            <pc:sldMk cId="2425629002" sldId="2076137161"/>
            <ac:picMk id="49" creationId="{259A39DA-9EB3-6A0D-3677-0251B62333EA}"/>
          </ac:picMkLst>
        </pc:picChg>
      </pc:sldChg>
      <pc:sldChg chg="add del">
        <pc:chgData name="Schindler, Diana" userId="5d2d35c8-52b3-424f-9285-822ca605bab7" providerId="ADAL" clId="{F210D7CE-8124-2A4F-ACFD-C7A55A9BD0F0}" dt="2022-08-19T15:34:43.948" v="353" actId="2696"/>
        <pc:sldMkLst>
          <pc:docMk/>
          <pc:sldMk cId="1283260845" sldId="2076137162"/>
        </pc:sldMkLst>
      </pc:sldChg>
      <pc:sldChg chg="modSp add del">
        <pc:chgData name="Schindler, Diana" userId="5d2d35c8-52b3-424f-9285-822ca605bab7" providerId="ADAL" clId="{F210D7CE-8124-2A4F-ACFD-C7A55A9BD0F0}" dt="2022-08-19T15:33:22.569" v="344" actId="2696"/>
        <pc:sldMkLst>
          <pc:docMk/>
          <pc:sldMk cId="2466378137" sldId="2076137162"/>
        </pc:sldMkLst>
        <pc:spChg chg="mod">
          <ac:chgData name="Schindler, Diana" userId="5d2d35c8-52b3-424f-9285-822ca605bab7" providerId="ADAL" clId="{F210D7CE-8124-2A4F-ACFD-C7A55A9BD0F0}" dt="2022-08-19T15:33:16.230" v="343"/>
          <ac:spMkLst>
            <pc:docMk/>
            <pc:sldMk cId="2466378137" sldId="2076137162"/>
            <ac:spMk id="6" creationId="{0AC967B8-2EFA-4836-995E-2C6BC62BD4E0}"/>
          </ac:spMkLst>
        </pc:spChg>
      </pc:sldChg>
      <pc:sldChg chg="add">
        <pc:chgData name="Schindler, Diana" userId="5d2d35c8-52b3-424f-9285-822ca605bab7" providerId="ADAL" clId="{F210D7CE-8124-2A4F-ACFD-C7A55A9BD0F0}" dt="2022-08-19T15:34:00.613" v="346" actId="2890"/>
        <pc:sldMkLst>
          <pc:docMk/>
          <pc:sldMk cId="363541035" sldId="2076137163"/>
        </pc:sldMkLst>
      </pc:sldChg>
      <pc:sldChg chg="addSp delSp modSp add mod">
        <pc:chgData name="Schindler, Diana" userId="5d2d35c8-52b3-424f-9285-822ca605bab7" providerId="ADAL" clId="{F210D7CE-8124-2A4F-ACFD-C7A55A9BD0F0}" dt="2022-08-22T15:04:27.805" v="1461" actId="207"/>
        <pc:sldMkLst>
          <pc:docMk/>
          <pc:sldMk cId="996675385" sldId="2076137164"/>
        </pc:sldMkLst>
        <pc:spChg chg="add mod">
          <ac:chgData name="Schindler, Diana" userId="5d2d35c8-52b3-424f-9285-822ca605bab7" providerId="ADAL" clId="{F210D7CE-8124-2A4F-ACFD-C7A55A9BD0F0}" dt="2022-08-22T15:04:27.805" v="1461" actId="207"/>
          <ac:spMkLst>
            <pc:docMk/>
            <pc:sldMk cId="996675385" sldId="2076137164"/>
            <ac:spMk id="2" creationId="{601BC119-B3B4-D6F9-4E15-BD45559DE18F}"/>
          </ac:spMkLst>
        </pc:spChg>
        <pc:spChg chg="mod">
          <ac:chgData name="Schindler, Diana" userId="5d2d35c8-52b3-424f-9285-822ca605bab7" providerId="ADAL" clId="{F210D7CE-8124-2A4F-ACFD-C7A55A9BD0F0}" dt="2022-08-21T15:40:43.406" v="1357" actId="1076"/>
          <ac:spMkLst>
            <pc:docMk/>
            <pc:sldMk cId="996675385" sldId="2076137164"/>
            <ac:spMk id="5" creationId="{A2E450EB-2FB4-9B9E-541F-8152A043ECC4}"/>
          </ac:spMkLst>
        </pc:spChg>
        <pc:spChg chg="mod">
          <ac:chgData name="Schindler, Diana" userId="5d2d35c8-52b3-424f-9285-822ca605bab7" providerId="ADAL" clId="{F210D7CE-8124-2A4F-ACFD-C7A55A9BD0F0}" dt="2022-08-21T15:35:21.559" v="1260" actId="20577"/>
          <ac:spMkLst>
            <pc:docMk/>
            <pc:sldMk cId="996675385" sldId="2076137164"/>
            <ac:spMk id="7" creationId="{5EA327E6-D755-E93C-D121-83017D032ECA}"/>
          </ac:spMkLst>
        </pc:spChg>
        <pc:spChg chg="mod">
          <ac:chgData name="Schindler, Diana" userId="5d2d35c8-52b3-424f-9285-822ca605bab7" providerId="ADAL" clId="{F210D7CE-8124-2A4F-ACFD-C7A55A9BD0F0}" dt="2022-08-21T15:40:45.768" v="1358" actId="1076"/>
          <ac:spMkLst>
            <pc:docMk/>
            <pc:sldMk cId="996675385" sldId="2076137164"/>
            <ac:spMk id="8" creationId="{2CAB560F-FD76-78E6-3988-019D650A2FC7}"/>
          </ac:spMkLst>
        </pc:spChg>
        <pc:spChg chg="mod">
          <ac:chgData name="Schindler, Diana" userId="5d2d35c8-52b3-424f-9285-822ca605bab7" providerId="ADAL" clId="{F210D7CE-8124-2A4F-ACFD-C7A55A9BD0F0}" dt="2022-08-21T15:40:58.627" v="1371" actId="1076"/>
          <ac:spMkLst>
            <pc:docMk/>
            <pc:sldMk cId="996675385" sldId="2076137164"/>
            <ac:spMk id="9" creationId="{84857EDF-C7B5-ACDE-9769-F491F4ACC024}"/>
          </ac:spMkLst>
        </pc:spChg>
        <pc:spChg chg="add mod">
          <ac:chgData name="Schindler, Diana" userId="5d2d35c8-52b3-424f-9285-822ca605bab7" providerId="ADAL" clId="{F210D7CE-8124-2A4F-ACFD-C7A55A9BD0F0}" dt="2022-08-21T15:40:24.935" v="1348" actId="20577"/>
          <ac:spMkLst>
            <pc:docMk/>
            <pc:sldMk cId="996675385" sldId="2076137164"/>
            <ac:spMk id="10" creationId="{D09A932F-03C9-6A83-4312-E7FE276C14EF}"/>
          </ac:spMkLst>
        </pc:spChg>
        <pc:spChg chg="add mod">
          <ac:chgData name="Schindler, Diana" userId="5d2d35c8-52b3-424f-9285-822ca605bab7" providerId="ADAL" clId="{F210D7CE-8124-2A4F-ACFD-C7A55A9BD0F0}" dt="2022-08-21T15:40:22.759" v="1345" actId="1076"/>
          <ac:spMkLst>
            <pc:docMk/>
            <pc:sldMk cId="996675385" sldId="2076137164"/>
            <ac:spMk id="11" creationId="{E94612A7-6B18-3B7B-1830-4E0346882CF9}"/>
          </ac:spMkLst>
        </pc:spChg>
        <pc:spChg chg="add mod">
          <ac:chgData name="Schindler, Diana" userId="5d2d35c8-52b3-424f-9285-822ca605bab7" providerId="ADAL" clId="{F210D7CE-8124-2A4F-ACFD-C7A55A9BD0F0}" dt="2022-08-21T15:40:32.323" v="1354" actId="20577"/>
          <ac:spMkLst>
            <pc:docMk/>
            <pc:sldMk cId="996675385" sldId="2076137164"/>
            <ac:spMk id="12" creationId="{0AE30EA6-2497-0E6B-FF2E-AB6E3C87965F}"/>
          </ac:spMkLst>
        </pc:spChg>
        <pc:spChg chg="del">
          <ac:chgData name="Schindler, Diana" userId="5d2d35c8-52b3-424f-9285-822ca605bab7" providerId="ADAL" clId="{F210D7CE-8124-2A4F-ACFD-C7A55A9BD0F0}" dt="2022-08-21T15:41:01.171" v="1372" actId="478"/>
          <ac:spMkLst>
            <pc:docMk/>
            <pc:sldMk cId="996675385" sldId="2076137164"/>
            <ac:spMk id="33" creationId="{A77038EF-05EF-2563-8E7B-5F040DC02FEC}"/>
          </ac:spMkLst>
        </pc:spChg>
        <pc:spChg chg="del">
          <ac:chgData name="Schindler, Diana" userId="5d2d35c8-52b3-424f-9285-822ca605bab7" providerId="ADAL" clId="{F210D7CE-8124-2A4F-ACFD-C7A55A9BD0F0}" dt="2022-08-21T15:41:01.171" v="1372" actId="478"/>
          <ac:spMkLst>
            <pc:docMk/>
            <pc:sldMk cId="996675385" sldId="2076137164"/>
            <ac:spMk id="36" creationId="{6A897E3F-9E66-F127-39E2-138E73B2DC09}"/>
          </ac:spMkLst>
        </pc:spChg>
        <pc:spChg chg="del">
          <ac:chgData name="Schindler, Diana" userId="5d2d35c8-52b3-424f-9285-822ca605bab7" providerId="ADAL" clId="{F210D7CE-8124-2A4F-ACFD-C7A55A9BD0F0}" dt="2022-08-21T15:41:01.171" v="1372" actId="478"/>
          <ac:spMkLst>
            <pc:docMk/>
            <pc:sldMk cId="996675385" sldId="2076137164"/>
            <ac:spMk id="39" creationId="{0D9A94AC-0EE3-7A28-EA34-A312886BFAD8}"/>
          </ac:spMkLst>
        </pc:spChg>
        <pc:spChg chg="del">
          <ac:chgData name="Schindler, Diana" userId="5d2d35c8-52b3-424f-9285-822ca605bab7" providerId="ADAL" clId="{F210D7CE-8124-2A4F-ACFD-C7A55A9BD0F0}" dt="2022-08-21T15:41:01.171" v="1372" actId="478"/>
          <ac:spMkLst>
            <pc:docMk/>
            <pc:sldMk cId="996675385" sldId="2076137164"/>
            <ac:spMk id="42" creationId="{29271793-01CD-C347-1164-DCD259FBF2D9}"/>
          </ac:spMkLst>
        </pc:spChg>
        <pc:spChg chg="mod">
          <ac:chgData name="Schindler, Diana" userId="5d2d35c8-52b3-424f-9285-822ca605bab7" providerId="ADAL" clId="{F210D7CE-8124-2A4F-ACFD-C7A55A9BD0F0}" dt="2022-08-21T15:38:48.166" v="1280" actId="20577"/>
          <ac:spMkLst>
            <pc:docMk/>
            <pc:sldMk cId="996675385" sldId="2076137164"/>
            <ac:spMk id="47" creationId="{C0833E84-52AD-D444-E520-0247E275D8F6}"/>
          </ac:spMkLst>
        </pc:spChg>
        <pc:spChg chg="del">
          <ac:chgData name="Schindler, Diana" userId="5d2d35c8-52b3-424f-9285-822ca605bab7" providerId="ADAL" clId="{F210D7CE-8124-2A4F-ACFD-C7A55A9BD0F0}" dt="2022-08-21T15:41:01.171" v="1372" actId="478"/>
          <ac:spMkLst>
            <pc:docMk/>
            <pc:sldMk cId="996675385" sldId="2076137164"/>
            <ac:spMk id="50" creationId="{95C43E4F-4D4C-01E8-7C5F-C4E61FC7ABC7}"/>
          </ac:spMkLst>
        </pc:spChg>
        <pc:spChg chg="mod">
          <ac:chgData name="Schindler, Diana" userId="5d2d35c8-52b3-424f-9285-822ca605bab7" providerId="ADAL" clId="{F210D7CE-8124-2A4F-ACFD-C7A55A9BD0F0}" dt="2022-08-21T15:35:04.129" v="1217" actId="20577"/>
          <ac:spMkLst>
            <pc:docMk/>
            <pc:sldMk cId="996675385" sldId="2076137164"/>
            <ac:spMk id="51" creationId="{DE79E29A-9699-4F25-AD5D-FD888E87D300}"/>
          </ac:spMkLst>
        </pc:spChg>
        <pc:picChg chg="del">
          <ac:chgData name="Schindler, Diana" userId="5d2d35c8-52b3-424f-9285-822ca605bab7" providerId="ADAL" clId="{F210D7CE-8124-2A4F-ACFD-C7A55A9BD0F0}" dt="2022-08-21T15:34:42.070" v="1180" actId="478"/>
          <ac:picMkLst>
            <pc:docMk/>
            <pc:sldMk cId="996675385" sldId="2076137164"/>
            <ac:picMk id="23" creationId="{82FF1A6C-A66A-9245-8FEA-8890212E6F34}"/>
          </ac:picMkLst>
        </pc:picChg>
        <pc:picChg chg="del">
          <ac:chgData name="Schindler, Diana" userId="5d2d35c8-52b3-424f-9285-822ca605bab7" providerId="ADAL" clId="{F210D7CE-8124-2A4F-ACFD-C7A55A9BD0F0}" dt="2022-08-21T15:41:01.171" v="1372" actId="478"/>
          <ac:picMkLst>
            <pc:docMk/>
            <pc:sldMk cId="996675385" sldId="2076137164"/>
            <ac:picMk id="44" creationId="{A12F471F-4CB9-49FB-5F8C-40BB1FD91AE3}"/>
          </ac:picMkLst>
        </pc:picChg>
        <pc:picChg chg="del">
          <ac:chgData name="Schindler, Diana" userId="5d2d35c8-52b3-424f-9285-822ca605bab7" providerId="ADAL" clId="{F210D7CE-8124-2A4F-ACFD-C7A55A9BD0F0}" dt="2022-08-21T15:41:01.171" v="1372" actId="478"/>
          <ac:picMkLst>
            <pc:docMk/>
            <pc:sldMk cId="996675385" sldId="2076137164"/>
            <ac:picMk id="46" creationId="{9FAED4A5-F2CA-905E-9C8A-5CB7E4589019}"/>
          </ac:picMkLst>
        </pc:picChg>
      </pc:sldChg>
      <pc:sldChg chg="add del">
        <pc:chgData name="Schindler, Diana" userId="5d2d35c8-52b3-424f-9285-822ca605bab7" providerId="ADAL" clId="{F210D7CE-8124-2A4F-ACFD-C7A55A9BD0F0}" dt="2022-08-19T15:34:09.403" v="348"/>
        <pc:sldMkLst>
          <pc:docMk/>
          <pc:sldMk cId="1474303206" sldId="2076137164"/>
        </pc:sldMkLst>
      </pc:sldChg>
      <pc:sldChg chg="addSp modSp new mod">
        <pc:chgData name="Schindler, Diana" userId="5d2d35c8-52b3-424f-9285-822ca605bab7" providerId="ADAL" clId="{F210D7CE-8124-2A4F-ACFD-C7A55A9BD0F0}" dt="2022-08-21T16:06:04.847" v="1386" actId="14100"/>
        <pc:sldMkLst>
          <pc:docMk/>
          <pc:sldMk cId="872439262" sldId="2076137165"/>
        </pc:sldMkLst>
        <pc:spChg chg="mod">
          <ac:chgData name="Schindler, Diana" userId="5d2d35c8-52b3-424f-9285-822ca605bab7" providerId="ADAL" clId="{F210D7CE-8124-2A4F-ACFD-C7A55A9BD0F0}" dt="2022-08-21T16:05:55.131" v="1383" actId="20577"/>
          <ac:spMkLst>
            <pc:docMk/>
            <pc:sldMk cId="872439262" sldId="2076137165"/>
            <ac:spMk id="4" creationId="{7F90934E-E3BA-52AD-384B-C26C73DC045C}"/>
          </ac:spMkLst>
        </pc:spChg>
        <pc:picChg chg="add mod">
          <ac:chgData name="Schindler, Diana" userId="5d2d35c8-52b3-424f-9285-822ca605bab7" providerId="ADAL" clId="{F210D7CE-8124-2A4F-ACFD-C7A55A9BD0F0}" dt="2022-08-21T16:06:04.847" v="1386" actId="14100"/>
          <ac:picMkLst>
            <pc:docMk/>
            <pc:sldMk cId="872439262" sldId="2076137165"/>
            <ac:picMk id="5" creationId="{DA08FD9F-21EF-BC88-2084-5DD679180F4D}"/>
          </ac:picMkLst>
        </pc:picChg>
      </pc:sldChg>
      <pc:sldChg chg="modSp new mod">
        <pc:chgData name="Schindler, Diana" userId="5d2d35c8-52b3-424f-9285-822ca605bab7" providerId="ADAL" clId="{F210D7CE-8124-2A4F-ACFD-C7A55A9BD0F0}" dt="2022-08-22T14:54:43.850" v="1455" actId="12"/>
        <pc:sldMkLst>
          <pc:docMk/>
          <pc:sldMk cId="635101242" sldId="2076137166"/>
        </pc:sldMkLst>
        <pc:spChg chg="mod">
          <ac:chgData name="Schindler, Diana" userId="5d2d35c8-52b3-424f-9285-822ca605bab7" providerId="ADAL" clId="{F210D7CE-8124-2A4F-ACFD-C7A55A9BD0F0}" dt="2022-08-22T14:54:43.850" v="1455" actId="12"/>
          <ac:spMkLst>
            <pc:docMk/>
            <pc:sldMk cId="635101242" sldId="2076137166"/>
            <ac:spMk id="4" creationId="{F3D306A5-A3EF-EEA5-970B-4428E1266926}"/>
          </ac:spMkLst>
        </pc:spChg>
      </pc:sldChg>
      <pc:sldChg chg="addSp delSp modSp add mod ord modClrScheme chgLayout">
        <pc:chgData name="Schindler, Diana" userId="5d2d35c8-52b3-424f-9285-822ca605bab7" providerId="ADAL" clId="{F210D7CE-8124-2A4F-ACFD-C7A55A9BD0F0}" dt="2022-08-22T15:39:24.392" v="2174" actId="20578"/>
        <pc:sldMkLst>
          <pc:docMk/>
          <pc:sldMk cId="1612837257" sldId="2076137167"/>
        </pc:sldMkLst>
        <pc:spChg chg="mod ord">
          <ac:chgData name="Schindler, Diana" userId="5d2d35c8-52b3-424f-9285-822ca605bab7" providerId="ADAL" clId="{F210D7CE-8124-2A4F-ACFD-C7A55A9BD0F0}" dt="2022-08-22T15:11:18.922" v="1495" actId="207"/>
          <ac:spMkLst>
            <pc:docMk/>
            <pc:sldMk cId="1612837257" sldId="2076137167"/>
            <ac:spMk id="2" creationId="{60722822-F218-4B9D-859F-6A39F829FA70}"/>
          </ac:spMkLst>
        </pc:spChg>
        <pc:spChg chg="mod ord">
          <ac:chgData name="Schindler, Diana" userId="5d2d35c8-52b3-424f-9285-822ca605bab7" providerId="ADAL" clId="{F210D7CE-8124-2A4F-ACFD-C7A55A9BD0F0}" dt="2022-08-22T15:10:51.081" v="1492" actId="700"/>
          <ac:spMkLst>
            <pc:docMk/>
            <pc:sldMk cId="1612837257" sldId="2076137167"/>
            <ac:spMk id="3" creationId="{BEFE3E52-4B03-48DD-951A-CB50AA674706}"/>
          </ac:spMkLst>
        </pc:spChg>
        <pc:spChg chg="mod">
          <ac:chgData name="Schindler, Diana" userId="5d2d35c8-52b3-424f-9285-822ca605bab7" providerId="ADAL" clId="{F210D7CE-8124-2A4F-ACFD-C7A55A9BD0F0}" dt="2022-08-22T15:11:50.513" v="1500" actId="207"/>
          <ac:spMkLst>
            <pc:docMk/>
            <pc:sldMk cId="1612837257" sldId="2076137167"/>
            <ac:spMk id="4" creationId="{A87F211B-00F8-72FC-3CBF-FD697BD61690}"/>
          </ac:spMkLst>
        </pc:spChg>
        <pc:spChg chg="mod ord">
          <ac:chgData name="Schindler, Diana" userId="5d2d35c8-52b3-424f-9285-822ca605bab7" providerId="ADAL" clId="{F210D7CE-8124-2A4F-ACFD-C7A55A9BD0F0}" dt="2022-08-22T15:10:51.081" v="1492" actId="700"/>
          <ac:spMkLst>
            <pc:docMk/>
            <pc:sldMk cId="1612837257" sldId="2076137167"/>
            <ac:spMk id="6" creationId="{A3B7A875-710B-33BF-FF9C-C4CB3CB34F7E}"/>
          </ac:spMkLst>
        </pc:spChg>
        <pc:spChg chg="mod ord">
          <ac:chgData name="Schindler, Diana" userId="5d2d35c8-52b3-424f-9285-822ca605bab7" providerId="ADAL" clId="{F210D7CE-8124-2A4F-ACFD-C7A55A9BD0F0}" dt="2022-08-22T15:25:08.468" v="1543" actId="20577"/>
          <ac:spMkLst>
            <pc:docMk/>
            <pc:sldMk cId="1612837257" sldId="2076137167"/>
            <ac:spMk id="10" creationId="{BA6A608F-E310-4958-B8A6-0622B8F4429D}"/>
          </ac:spMkLst>
        </pc:spChg>
        <pc:picChg chg="mod">
          <ac:chgData name="Schindler, Diana" userId="5d2d35c8-52b3-424f-9285-822ca605bab7" providerId="ADAL" clId="{F210D7CE-8124-2A4F-ACFD-C7A55A9BD0F0}" dt="2022-08-22T15:11:01.634" v="1493" actId="207"/>
          <ac:picMkLst>
            <pc:docMk/>
            <pc:sldMk cId="1612837257" sldId="2076137167"/>
            <ac:picMk id="13" creationId="{325D0540-25D2-4043-B364-DC23D66BE4DB}"/>
          </ac:picMkLst>
        </pc:picChg>
        <pc:picChg chg="add del">
          <ac:chgData name="Schindler, Diana" userId="5d2d35c8-52b3-424f-9285-822ca605bab7" providerId="ADAL" clId="{F210D7CE-8124-2A4F-ACFD-C7A55A9BD0F0}" dt="2022-08-21T16:22:52.381" v="1449" actId="478"/>
          <ac:picMkLst>
            <pc:docMk/>
            <pc:sldMk cId="1612837257" sldId="2076137167"/>
            <ac:picMk id="14" creationId="{CA80F073-7739-4E08-AAF8-6CB30C9CBF44}"/>
          </ac:picMkLst>
        </pc:picChg>
      </pc:sldChg>
      <pc:sldChg chg="addSp delSp modSp new mod">
        <pc:chgData name="Schindler, Diana" userId="5d2d35c8-52b3-424f-9285-822ca605bab7" providerId="ADAL" clId="{F210D7CE-8124-2A4F-ACFD-C7A55A9BD0F0}" dt="2022-08-22T15:39:06.742" v="2173" actId="14100"/>
        <pc:sldMkLst>
          <pc:docMk/>
          <pc:sldMk cId="1687947726" sldId="2076137168"/>
        </pc:sldMkLst>
        <pc:spChg chg="del">
          <ac:chgData name="Schindler, Diana" userId="5d2d35c8-52b3-424f-9285-822ca605bab7" providerId="ADAL" clId="{F210D7CE-8124-2A4F-ACFD-C7A55A9BD0F0}" dt="2022-08-22T15:21:17.291" v="1531" actId="931"/>
          <ac:spMkLst>
            <pc:docMk/>
            <pc:sldMk cId="1687947726" sldId="2076137168"/>
            <ac:spMk id="4" creationId="{3ED6D79F-16E9-929A-CEB3-2A53213A9232}"/>
          </ac:spMkLst>
        </pc:spChg>
        <pc:spChg chg="mod">
          <ac:chgData name="Schindler, Diana" userId="5d2d35c8-52b3-424f-9285-822ca605bab7" providerId="ADAL" clId="{F210D7CE-8124-2A4F-ACFD-C7A55A9BD0F0}" dt="2022-08-22T15:26:12.586" v="1572" actId="20577"/>
          <ac:spMkLst>
            <pc:docMk/>
            <pc:sldMk cId="1687947726" sldId="2076137168"/>
            <ac:spMk id="5" creationId="{B602EE95-5072-5104-3F08-D982A035B751}"/>
          </ac:spMkLst>
        </pc:spChg>
        <pc:spChg chg="add mod">
          <ac:chgData name="Schindler, Diana" userId="5d2d35c8-52b3-424f-9285-822ca605bab7" providerId="ADAL" clId="{F210D7CE-8124-2A4F-ACFD-C7A55A9BD0F0}" dt="2022-08-22T15:35:49.367" v="2053" actId="207"/>
          <ac:spMkLst>
            <pc:docMk/>
            <pc:sldMk cId="1687947726" sldId="2076137168"/>
            <ac:spMk id="9" creationId="{CD8E8937-8E3D-7208-BAEB-13CAF7F245AE}"/>
          </ac:spMkLst>
        </pc:spChg>
        <pc:spChg chg="add mod">
          <ac:chgData name="Schindler, Diana" userId="5d2d35c8-52b3-424f-9285-822ca605bab7" providerId="ADAL" clId="{F210D7CE-8124-2A4F-ACFD-C7A55A9BD0F0}" dt="2022-08-22T15:33:29.101" v="1934" actId="1076"/>
          <ac:spMkLst>
            <pc:docMk/>
            <pc:sldMk cId="1687947726" sldId="2076137168"/>
            <ac:spMk id="11" creationId="{4AAE2EE3-11B7-CCA2-4974-396374939FC7}"/>
          </ac:spMkLst>
        </pc:spChg>
        <pc:spChg chg="add mod">
          <ac:chgData name="Schindler, Diana" userId="5d2d35c8-52b3-424f-9285-822ca605bab7" providerId="ADAL" clId="{F210D7CE-8124-2A4F-ACFD-C7A55A9BD0F0}" dt="2022-08-22T15:36:15.638" v="2055" actId="14100"/>
          <ac:spMkLst>
            <pc:docMk/>
            <pc:sldMk cId="1687947726" sldId="2076137168"/>
            <ac:spMk id="12" creationId="{754B0CAC-D5DD-1AC7-EA5D-44ACD719FA8D}"/>
          </ac:spMkLst>
        </pc:spChg>
        <pc:spChg chg="add mod">
          <ac:chgData name="Schindler, Diana" userId="5d2d35c8-52b3-424f-9285-822ca605bab7" providerId="ADAL" clId="{F210D7CE-8124-2A4F-ACFD-C7A55A9BD0F0}" dt="2022-08-22T15:36:32.105" v="2058" actId="14100"/>
          <ac:spMkLst>
            <pc:docMk/>
            <pc:sldMk cId="1687947726" sldId="2076137168"/>
            <ac:spMk id="13" creationId="{7ABC1800-178F-4F2A-07CF-FA56414B6BB0}"/>
          </ac:spMkLst>
        </pc:spChg>
        <pc:spChg chg="add mod">
          <ac:chgData name="Schindler, Diana" userId="5d2d35c8-52b3-424f-9285-822ca605bab7" providerId="ADAL" clId="{F210D7CE-8124-2A4F-ACFD-C7A55A9BD0F0}" dt="2022-08-22T15:38:14.572" v="2118" actId="14100"/>
          <ac:spMkLst>
            <pc:docMk/>
            <pc:sldMk cId="1687947726" sldId="2076137168"/>
            <ac:spMk id="14" creationId="{7441F8DC-7410-D5D2-34D4-604DF9528ADD}"/>
          </ac:spMkLst>
        </pc:spChg>
        <pc:spChg chg="add mod">
          <ac:chgData name="Schindler, Diana" userId="5d2d35c8-52b3-424f-9285-822ca605bab7" providerId="ADAL" clId="{F210D7CE-8124-2A4F-ACFD-C7A55A9BD0F0}" dt="2022-08-22T15:39:06.742" v="2173" actId="14100"/>
          <ac:spMkLst>
            <pc:docMk/>
            <pc:sldMk cId="1687947726" sldId="2076137168"/>
            <ac:spMk id="15" creationId="{30981C6F-AACA-291D-BE35-59268195BEA2}"/>
          </ac:spMkLst>
        </pc:spChg>
        <pc:picChg chg="add del mod">
          <ac:chgData name="Schindler, Diana" userId="5d2d35c8-52b3-424f-9285-822ca605bab7" providerId="ADAL" clId="{F210D7CE-8124-2A4F-ACFD-C7A55A9BD0F0}" dt="2022-08-22T15:21:49.552" v="1533" actId="478"/>
          <ac:picMkLst>
            <pc:docMk/>
            <pc:sldMk cId="1687947726" sldId="2076137168"/>
            <ac:picMk id="7" creationId="{C7C72F35-3BFE-5DBE-7E68-1D1E184C7840}"/>
          </ac:picMkLst>
        </pc:picChg>
        <pc:picChg chg="add mod">
          <ac:chgData name="Schindler, Diana" userId="5d2d35c8-52b3-424f-9285-822ca605bab7" providerId="ADAL" clId="{F210D7CE-8124-2A4F-ACFD-C7A55A9BD0F0}" dt="2022-08-22T15:33:25.017" v="1932" actId="1076"/>
          <ac:picMkLst>
            <pc:docMk/>
            <pc:sldMk cId="1687947726" sldId="2076137168"/>
            <ac:picMk id="10" creationId="{9AE11AD2-5CAD-BDAD-D9AF-27B9315E41FC}"/>
          </ac:picMkLst>
        </pc:picChg>
        <pc:picChg chg="add del">
          <ac:chgData name="Schindler, Diana" userId="5d2d35c8-52b3-424f-9285-822ca605bab7" providerId="ADAL" clId="{F210D7CE-8124-2A4F-ACFD-C7A55A9BD0F0}" dt="2022-08-22T15:29:36.637" v="1718"/>
          <ac:picMkLst>
            <pc:docMk/>
            <pc:sldMk cId="1687947726" sldId="2076137168"/>
            <ac:picMk id="1026" creationId="{6B881708-1034-D95F-A1E5-A48A569AE25E}"/>
          </ac:picMkLst>
        </pc:picChg>
        <pc:picChg chg="add mod">
          <ac:chgData name="Schindler, Diana" userId="5d2d35c8-52b3-424f-9285-822ca605bab7" providerId="ADAL" clId="{F210D7CE-8124-2A4F-ACFD-C7A55A9BD0F0}" dt="2022-08-22T15:38:17.143" v="2119" actId="1076"/>
          <ac:picMkLst>
            <pc:docMk/>
            <pc:sldMk cId="1687947726" sldId="2076137168"/>
            <ac:picMk id="1028" creationId="{DDC789A6-57CA-3EA7-BD3E-04FB2F63A457}"/>
          </ac:picMkLst>
        </pc:picChg>
      </pc:sldChg>
      <pc:sldChg chg="new del">
        <pc:chgData name="Schindler, Diana" userId="5d2d35c8-52b3-424f-9285-822ca605bab7" providerId="ADAL" clId="{F210D7CE-8124-2A4F-ACFD-C7A55A9BD0F0}" dt="2022-08-21T16:22:05.832" v="1417" actId="680"/>
        <pc:sldMkLst>
          <pc:docMk/>
          <pc:sldMk cId="3493612633" sldId="2076137168"/>
        </pc:sldMkLst>
      </pc:sldChg>
      <pc:sldChg chg="modSp mod">
        <pc:chgData name="Schindler, Diana" userId="5d2d35c8-52b3-424f-9285-822ca605bab7" providerId="ADAL" clId="{F210D7CE-8124-2A4F-ACFD-C7A55A9BD0F0}" dt="2022-08-22T16:43:03.918" v="2490" actId="20577"/>
        <pc:sldMkLst>
          <pc:docMk/>
          <pc:sldMk cId="3255405018" sldId="2076137169"/>
        </pc:sldMkLst>
        <pc:spChg chg="mod">
          <ac:chgData name="Schindler, Diana" userId="5d2d35c8-52b3-424f-9285-822ca605bab7" providerId="ADAL" clId="{F210D7CE-8124-2A4F-ACFD-C7A55A9BD0F0}" dt="2022-08-22T16:43:03.918" v="2490" actId="20577"/>
          <ac:spMkLst>
            <pc:docMk/>
            <pc:sldMk cId="3255405018" sldId="2076137169"/>
            <ac:spMk id="4" creationId="{F74EA4E3-DF58-8DF6-8C48-3FBA04B562E0}"/>
          </ac:spMkLst>
        </pc:spChg>
        <pc:spChg chg="mod">
          <ac:chgData name="Schindler, Diana" userId="5d2d35c8-52b3-424f-9285-822ca605bab7" providerId="ADAL" clId="{F210D7CE-8124-2A4F-ACFD-C7A55A9BD0F0}" dt="2022-08-22T16:35:04.817" v="2204" actId="20577"/>
          <ac:spMkLst>
            <pc:docMk/>
            <pc:sldMk cId="3255405018" sldId="2076137169"/>
            <ac:spMk id="5" creationId="{2E33D1A8-3B96-0366-D322-5347929270D1}"/>
          </ac:spMkLst>
        </pc:spChg>
      </pc:sldChg>
      <pc:sldMasterChg chg="delSp modSp mod modSldLayout">
        <pc:chgData name="Schindler, Diana" userId="5d2d35c8-52b3-424f-9285-822ca605bab7" providerId="ADAL" clId="{F210D7CE-8124-2A4F-ACFD-C7A55A9BD0F0}" dt="2022-08-22T15:18:40.103" v="1524" actId="207"/>
        <pc:sldMasterMkLst>
          <pc:docMk/>
          <pc:sldMasterMk cId="3518366026" sldId="2147483700"/>
        </pc:sldMasterMkLst>
        <pc:spChg chg="mod">
          <ac:chgData name="Schindler, Diana" userId="5d2d35c8-52b3-424f-9285-822ca605bab7" providerId="ADAL" clId="{F210D7CE-8124-2A4F-ACFD-C7A55A9BD0F0}" dt="2022-08-22T15:18:40.103" v="1524" actId="207"/>
          <ac:spMkLst>
            <pc:docMk/>
            <pc:sldMasterMk cId="3518366026" sldId="2147483700"/>
            <ac:spMk id="2" creationId="{00000000-0000-0000-0000-000000000000}"/>
          </ac:spMkLst>
        </pc:spChg>
        <pc:spChg chg="mod">
          <ac:chgData name="Schindler, Diana" userId="5d2d35c8-52b3-424f-9285-822ca605bab7" providerId="ADAL" clId="{F210D7CE-8124-2A4F-ACFD-C7A55A9BD0F0}" dt="2022-08-22T15:17:46.894" v="1519" actId="207"/>
          <ac:spMkLst>
            <pc:docMk/>
            <pc:sldMasterMk cId="3518366026" sldId="2147483700"/>
            <ac:spMk id="3" creationId="{00000000-0000-0000-0000-000000000000}"/>
          </ac:spMkLst>
        </pc:spChg>
        <pc:spChg chg="mod">
          <ac:chgData name="Schindler, Diana" userId="5d2d35c8-52b3-424f-9285-822ca605bab7" providerId="ADAL" clId="{F210D7CE-8124-2A4F-ACFD-C7A55A9BD0F0}" dt="2022-08-22T15:17:58.963" v="1521" actId="207"/>
          <ac:spMkLst>
            <pc:docMk/>
            <pc:sldMasterMk cId="3518366026" sldId="2147483700"/>
            <ac:spMk id="4" creationId="{00000000-0000-0000-0000-000000000000}"/>
          </ac:spMkLst>
        </pc:spChg>
        <pc:spChg chg="mod">
          <ac:chgData name="Schindler, Diana" userId="5d2d35c8-52b3-424f-9285-822ca605bab7" providerId="ADAL" clId="{F210D7CE-8124-2A4F-ACFD-C7A55A9BD0F0}" dt="2022-08-22T15:17:54.264" v="1520" actId="207"/>
          <ac:spMkLst>
            <pc:docMk/>
            <pc:sldMasterMk cId="3518366026" sldId="2147483700"/>
            <ac:spMk id="5" creationId="{00000000-0000-0000-0000-000000000000}"/>
          </ac:spMkLst>
        </pc:spChg>
        <pc:picChg chg="del">
          <ac:chgData name="Schindler, Diana" userId="5d2d35c8-52b3-424f-9285-822ca605bab7" providerId="ADAL" clId="{F210D7CE-8124-2A4F-ACFD-C7A55A9BD0F0}" dt="2022-08-22T15:17:03.971" v="1516" actId="478"/>
          <ac:picMkLst>
            <pc:docMk/>
            <pc:sldMasterMk cId="3518366026" sldId="2147483700"/>
            <ac:picMk id="10" creationId="{78B85E22-5209-4FF5-9907-4AC3A0667CA4}"/>
          </ac:picMkLst>
        </pc:picChg>
        <pc:sldLayoutChg chg="modSp">
          <pc:chgData name="Schindler, Diana" userId="5d2d35c8-52b3-424f-9285-822ca605bab7" providerId="ADAL" clId="{F210D7CE-8124-2A4F-ACFD-C7A55A9BD0F0}" dt="2022-08-22T15:18:24.600" v="1523" actId="12"/>
          <pc:sldLayoutMkLst>
            <pc:docMk/>
            <pc:sldMasterMk cId="3518366026" sldId="2147483648"/>
            <pc:sldLayoutMk cId="3987716275" sldId="2147483650"/>
          </pc:sldLayoutMkLst>
          <pc:spChg chg="mod">
            <ac:chgData name="Schindler, Diana" userId="5d2d35c8-52b3-424f-9285-822ca605bab7" providerId="ADAL" clId="{F210D7CE-8124-2A4F-ACFD-C7A55A9BD0F0}" dt="2022-08-22T15:18:24.600" v="1523" actId="12"/>
            <ac:spMkLst>
              <pc:docMk/>
              <pc:sldMasterMk cId="3518366026" sldId="2147483648"/>
              <pc:sldLayoutMk cId="3987716275" sldId="2147483650"/>
              <ac:spMk id="10" creationId="{FB614838-8B06-4CFE-ABF1-BE7BB32DD064}"/>
            </ac:spMkLst>
          </pc:spChg>
        </pc:sldLayoutChg>
        <pc:sldLayoutChg chg="modSp">
          <pc:chgData name="Schindler, Diana" userId="5d2d35c8-52b3-424f-9285-822ca605bab7" providerId="ADAL" clId="{F210D7CE-8124-2A4F-ACFD-C7A55A9BD0F0}" dt="2022-08-19T15:06:18.897" v="0" actId="1367"/>
          <pc:sldLayoutMkLst>
            <pc:docMk/>
            <pc:sldMasterMk cId="3518366026" sldId="2147483648"/>
            <pc:sldLayoutMk cId="2669116966" sldId="2147483701"/>
          </pc:sldLayoutMkLst>
          <pc:picChg chg="mod">
            <ac:chgData name="Schindler, Diana" userId="5d2d35c8-52b3-424f-9285-822ca605bab7" providerId="ADAL" clId="{F210D7CE-8124-2A4F-ACFD-C7A55A9BD0F0}" dt="2022-08-19T15:06:18.897" v="0" actId="1367"/>
            <ac:picMkLst>
              <pc:docMk/>
              <pc:sldMasterMk cId="3518366026" sldId="2147483648"/>
              <pc:sldLayoutMk cId="2669116966" sldId="2147483701"/>
              <ac:picMk id="7" creationId="{E4E8F24C-C5FD-4205-9721-E6D609178114}"/>
            </ac:picMkLst>
          </pc:picChg>
        </pc:sldLayoutChg>
      </pc:sldMasterChg>
      <pc:sldMasterChg chg="addSp delSp modSp add mod addSldLayout modSldLayout">
        <pc:chgData name="Schindler, Diana" userId="5d2d35c8-52b3-424f-9285-822ca605bab7" providerId="ADAL" clId="{F210D7CE-8124-2A4F-ACFD-C7A55A9BD0F0}" dt="2022-08-22T15:24:01.296" v="1539" actId="12"/>
        <pc:sldMasterMkLst>
          <pc:docMk/>
          <pc:sldMasterMk cId="1768845998" sldId="2147483710"/>
        </pc:sldMasterMkLst>
        <pc:spChg chg="mod">
          <ac:chgData name="Schindler, Diana" userId="5d2d35c8-52b3-424f-9285-822ca605bab7" providerId="ADAL" clId="{F210D7CE-8124-2A4F-ACFD-C7A55A9BD0F0}" dt="2022-08-22T15:18:56.868" v="1527" actId="207"/>
          <ac:spMkLst>
            <pc:docMk/>
            <pc:sldMasterMk cId="1768845998" sldId="2147483710"/>
            <ac:spMk id="2" creationId="{00000000-0000-0000-0000-000000000000}"/>
          </ac:spMkLst>
        </pc:spChg>
        <pc:spChg chg="mod">
          <ac:chgData name="Schindler, Diana" userId="5d2d35c8-52b3-424f-9285-822ca605bab7" providerId="ADAL" clId="{F210D7CE-8124-2A4F-ACFD-C7A55A9BD0F0}" dt="2022-08-22T15:18:49.678" v="1525" actId="207"/>
          <ac:spMkLst>
            <pc:docMk/>
            <pc:sldMasterMk cId="1768845998" sldId="2147483710"/>
            <ac:spMk id="3" creationId="{00000000-0000-0000-0000-000000000000}"/>
          </ac:spMkLst>
        </pc:spChg>
        <pc:picChg chg="del">
          <ac:chgData name="Schindler, Diana" userId="5d2d35c8-52b3-424f-9285-822ca605bab7" providerId="ADAL" clId="{F210D7CE-8124-2A4F-ACFD-C7A55A9BD0F0}" dt="2022-08-22T15:18:59.652" v="1528" actId="478"/>
          <ac:picMkLst>
            <pc:docMk/>
            <pc:sldMasterMk cId="1768845998" sldId="2147483710"/>
            <ac:picMk id="10" creationId="{78B85E22-5209-4FF5-9907-4AC3A0667CA4}"/>
          </ac:picMkLst>
        </pc:picChg>
        <pc:picChg chg="add del mod">
          <ac:chgData name="Schindler, Diana" userId="5d2d35c8-52b3-424f-9285-822ca605bab7" providerId="ADAL" clId="{F210D7CE-8124-2A4F-ACFD-C7A55A9BD0F0}" dt="2022-08-21T16:16:58.985" v="1393" actId="478"/>
          <ac:picMkLst>
            <pc:docMk/>
            <pc:sldMasterMk cId="1768845998" sldId="2147483710"/>
            <ac:picMk id="11" creationId="{57B1B7B0-2523-04F0-7D2A-C5A36EE93339}"/>
          </ac:picMkLst>
        </pc:picChg>
        <pc:sldLayoutChg chg="modSp add mod replId">
          <pc:chgData name="Schindler, Diana" userId="5d2d35c8-52b3-424f-9285-822ca605bab7" providerId="ADAL" clId="{F210D7CE-8124-2A4F-ACFD-C7A55A9BD0F0}" dt="2022-08-22T15:19:13.989" v="1529" actId="12"/>
          <pc:sldLayoutMkLst>
            <pc:docMk/>
            <pc:sldMasterMk cId="1768845998" sldId="2147483684"/>
            <pc:sldLayoutMk cId="2720965567" sldId="2147483686"/>
          </pc:sldLayoutMkLst>
          <pc:spChg chg="mod">
            <ac:chgData name="Schindler, Diana" userId="5d2d35c8-52b3-424f-9285-822ca605bab7" providerId="ADAL" clId="{F210D7CE-8124-2A4F-ACFD-C7A55A9BD0F0}" dt="2022-08-22T15:19:13.989" v="1529" actId="12"/>
            <ac:spMkLst>
              <pc:docMk/>
              <pc:sldMasterMk cId="1768845998" sldId="2147483684"/>
              <pc:sldLayoutMk cId="2720965567" sldId="2147483686"/>
              <ac:spMk id="10" creationId="{FB614838-8B06-4CFE-ABF1-BE7BB32DD064}"/>
            </ac:spMkLst>
          </pc:spChg>
        </pc:sldLayoutChg>
        <pc:sldLayoutChg chg="add mod replId">
          <pc:chgData name="Schindler, Diana" userId="5d2d35c8-52b3-424f-9285-822ca605bab7" providerId="ADAL" clId="{F210D7CE-8124-2A4F-ACFD-C7A55A9BD0F0}" dt="2022-08-21T16:07:29.932" v="1387" actId="2890"/>
          <pc:sldLayoutMkLst>
            <pc:docMk/>
            <pc:sldMasterMk cId="1768845998" sldId="2147483684"/>
            <pc:sldLayoutMk cId="3581143294" sldId="2147483690"/>
          </pc:sldLayoutMkLst>
        </pc:sldLayoutChg>
        <pc:sldLayoutChg chg="add mod replId">
          <pc:chgData name="Schindler, Diana" userId="5d2d35c8-52b3-424f-9285-822ca605bab7" providerId="ADAL" clId="{F210D7CE-8124-2A4F-ACFD-C7A55A9BD0F0}" dt="2022-08-21T16:07:29.932" v="1387" actId="2890"/>
          <pc:sldLayoutMkLst>
            <pc:docMk/>
            <pc:sldMasterMk cId="1768845998" sldId="2147483684"/>
            <pc:sldLayoutMk cId="1968647311" sldId="2147483692"/>
          </pc:sldLayoutMkLst>
        </pc:sldLayoutChg>
        <pc:sldLayoutChg chg="add mod replId">
          <pc:chgData name="Schindler, Diana" userId="5d2d35c8-52b3-424f-9285-822ca605bab7" providerId="ADAL" clId="{F210D7CE-8124-2A4F-ACFD-C7A55A9BD0F0}" dt="2022-08-21T16:07:29.932" v="1387" actId="2890"/>
          <pc:sldLayoutMkLst>
            <pc:docMk/>
            <pc:sldMasterMk cId="1768845998" sldId="2147483684"/>
            <pc:sldLayoutMk cId="760056816" sldId="2147483694"/>
          </pc:sldLayoutMkLst>
        </pc:sldLayoutChg>
        <pc:sldLayoutChg chg="add mod replId setBg">
          <pc:chgData name="Schindler, Diana" userId="5d2d35c8-52b3-424f-9285-822ca605bab7" providerId="ADAL" clId="{F210D7CE-8124-2A4F-ACFD-C7A55A9BD0F0}" dt="2022-08-22T15:16:42.805" v="1515"/>
          <pc:sldLayoutMkLst>
            <pc:docMk/>
            <pc:sldMasterMk cId="1768845998" sldId="2147483684"/>
            <pc:sldLayoutMk cId="1844525899" sldId="2147483696"/>
          </pc:sldLayoutMkLst>
        </pc:sldLayoutChg>
        <pc:sldLayoutChg chg="add mod replId">
          <pc:chgData name="Schindler, Diana" userId="5d2d35c8-52b3-424f-9285-822ca605bab7" providerId="ADAL" clId="{F210D7CE-8124-2A4F-ACFD-C7A55A9BD0F0}" dt="2022-08-21T16:07:29.932" v="1387" actId="2890"/>
          <pc:sldLayoutMkLst>
            <pc:docMk/>
            <pc:sldMasterMk cId="1768845998" sldId="2147483684"/>
            <pc:sldLayoutMk cId="3638953445" sldId="2147483697"/>
          </pc:sldLayoutMkLst>
        </pc:sldLayoutChg>
        <pc:sldLayoutChg chg="add mod replId">
          <pc:chgData name="Schindler, Diana" userId="5d2d35c8-52b3-424f-9285-822ca605bab7" providerId="ADAL" clId="{F210D7CE-8124-2A4F-ACFD-C7A55A9BD0F0}" dt="2022-08-21T16:07:29.932" v="1387" actId="2890"/>
          <pc:sldLayoutMkLst>
            <pc:docMk/>
            <pc:sldMasterMk cId="1768845998" sldId="2147483684"/>
            <pc:sldLayoutMk cId="3057301179" sldId="2147483711"/>
          </pc:sldLayoutMkLst>
        </pc:sldLayoutChg>
        <pc:sldLayoutChg chg="addSp delSp modSp add mod replId setBg">
          <pc:chgData name="Schindler, Diana" userId="5d2d35c8-52b3-424f-9285-822ca605bab7" providerId="ADAL" clId="{F210D7CE-8124-2A4F-ACFD-C7A55A9BD0F0}" dt="2022-08-22T15:22:18.553" v="1535" actId="12"/>
          <pc:sldLayoutMkLst>
            <pc:docMk/>
            <pc:sldMasterMk cId="1768845998" sldId="2147483684"/>
            <pc:sldLayoutMk cId="1322685885" sldId="2147483712"/>
          </pc:sldLayoutMkLst>
          <pc:spChg chg="add del mod">
            <ac:chgData name="Schindler, Diana" userId="5d2d35c8-52b3-424f-9285-822ca605bab7" providerId="ADAL" clId="{F210D7CE-8124-2A4F-ACFD-C7A55A9BD0F0}" dt="2022-08-22T15:08:12.535" v="1470"/>
            <ac:spMkLst>
              <pc:docMk/>
              <pc:sldMasterMk cId="1768845998" sldId="2147483684"/>
              <pc:sldLayoutMk cId="1322685885" sldId="2147483712"/>
              <ac:spMk id="2" creationId="{6428DE35-9BAE-933E-B8FD-6E546EC0D829}"/>
            </ac:spMkLst>
          </pc:spChg>
          <pc:spChg chg="add del mod">
            <ac:chgData name="Schindler, Diana" userId="5d2d35c8-52b3-424f-9285-822ca605bab7" providerId="ADAL" clId="{F210D7CE-8124-2A4F-ACFD-C7A55A9BD0F0}" dt="2022-08-22T15:08:15.828" v="1473"/>
            <ac:spMkLst>
              <pc:docMk/>
              <pc:sldMasterMk cId="1768845998" sldId="2147483684"/>
              <pc:sldLayoutMk cId="1322685885" sldId="2147483712"/>
              <ac:spMk id="4" creationId="{6EEE125C-C2B2-DAB5-6F80-45E7A6A26741}"/>
            </ac:spMkLst>
          </pc:spChg>
          <pc:spChg chg="mod">
            <ac:chgData name="Schindler, Diana" userId="5d2d35c8-52b3-424f-9285-822ca605bab7" providerId="ADAL" clId="{F210D7CE-8124-2A4F-ACFD-C7A55A9BD0F0}" dt="2022-08-22T15:14:58.188" v="1504" actId="207"/>
            <ac:spMkLst>
              <pc:docMk/>
              <pc:sldMasterMk cId="1768845998" sldId="2147483684"/>
              <pc:sldLayoutMk cId="1322685885" sldId="2147483712"/>
              <ac:spMk id="5" creationId="{C89502B5-BDA9-4F39-8160-24B865EF5774}"/>
            </ac:spMkLst>
          </pc:spChg>
          <pc:spChg chg="mod">
            <ac:chgData name="Schindler, Diana" userId="5d2d35c8-52b3-424f-9285-822ca605bab7" providerId="ADAL" clId="{F210D7CE-8124-2A4F-ACFD-C7A55A9BD0F0}" dt="2022-08-22T15:09:46.621" v="1483" actId="207"/>
            <ac:spMkLst>
              <pc:docMk/>
              <pc:sldMasterMk cId="1768845998" sldId="2147483684"/>
              <pc:sldLayoutMk cId="1322685885" sldId="2147483712"/>
              <ac:spMk id="8" creationId="{E555F28B-BDBF-413E-9727-643E5A1DDEF7}"/>
            </ac:spMkLst>
          </pc:spChg>
          <pc:spChg chg="mod">
            <ac:chgData name="Schindler, Diana" userId="5d2d35c8-52b3-424f-9285-822ca605bab7" providerId="ADAL" clId="{F210D7CE-8124-2A4F-ACFD-C7A55A9BD0F0}" dt="2022-08-22T15:22:18.553" v="1535" actId="12"/>
            <ac:spMkLst>
              <pc:docMk/>
              <pc:sldMasterMk cId="1768845998" sldId="2147483684"/>
              <pc:sldLayoutMk cId="1322685885" sldId="2147483712"/>
              <ac:spMk id="10" creationId="{FB614838-8B06-4CFE-ABF1-BE7BB32DD064}"/>
            </ac:spMkLst>
          </pc:spChg>
          <pc:picChg chg="del">
            <ac:chgData name="Schindler, Diana" userId="5d2d35c8-52b3-424f-9285-822ca605bab7" providerId="ADAL" clId="{F210D7CE-8124-2A4F-ACFD-C7A55A9BD0F0}" dt="2022-08-22T15:08:10.037" v="1468" actId="478"/>
            <ac:picMkLst>
              <pc:docMk/>
              <pc:sldMasterMk cId="1768845998" sldId="2147483684"/>
              <pc:sldLayoutMk cId="1322685885" sldId="2147483712"/>
              <ac:picMk id="11" creationId="{98B56CE4-694D-4EAC-90BC-DE7931C5A2E2}"/>
            </ac:picMkLst>
          </pc:picChg>
        </pc:sldLayoutChg>
        <pc:sldLayoutChg chg="add mod replId">
          <pc:chgData name="Schindler, Diana" userId="5d2d35c8-52b3-424f-9285-822ca605bab7" providerId="ADAL" clId="{F210D7CE-8124-2A4F-ACFD-C7A55A9BD0F0}" dt="2022-08-21T16:07:29.932" v="1387" actId="2890"/>
          <pc:sldLayoutMkLst>
            <pc:docMk/>
            <pc:sldMasterMk cId="1768845998" sldId="2147483684"/>
            <pc:sldLayoutMk cId="1248570575" sldId="2147483713"/>
          </pc:sldLayoutMkLst>
        </pc:sldLayoutChg>
        <pc:sldLayoutChg chg="addSp delSp modSp add mod replId setBg">
          <pc:chgData name="Schindler, Diana" userId="5d2d35c8-52b3-424f-9285-822ca605bab7" providerId="ADAL" clId="{F210D7CE-8124-2A4F-ACFD-C7A55A9BD0F0}" dt="2022-08-22T15:09:37.211" v="1482" actId="207"/>
          <pc:sldLayoutMkLst>
            <pc:docMk/>
            <pc:sldMasterMk cId="1768845998" sldId="2147483684"/>
            <pc:sldLayoutMk cId="652738360" sldId="2147483714"/>
          </pc:sldLayoutMkLst>
          <pc:spChg chg="mod">
            <ac:chgData name="Schindler, Diana" userId="5d2d35c8-52b3-424f-9285-822ca605bab7" providerId="ADAL" clId="{F210D7CE-8124-2A4F-ACFD-C7A55A9BD0F0}" dt="2022-08-22T15:09:37.211" v="1482" actId="207"/>
            <ac:spMkLst>
              <pc:docMk/>
              <pc:sldMasterMk cId="1768845998" sldId="2147483684"/>
              <pc:sldLayoutMk cId="652738360" sldId="2147483714"/>
              <ac:spMk id="4" creationId="{7E9BDD1E-55C6-46D6-A0C9-A9E0E7BA87C5}"/>
            </ac:spMkLst>
          </pc:spChg>
          <pc:spChg chg="add del mod">
            <ac:chgData name="Schindler, Diana" userId="5d2d35c8-52b3-424f-9285-822ca605bab7" providerId="ADAL" clId="{F210D7CE-8124-2A4F-ACFD-C7A55A9BD0F0}" dt="2022-08-22T15:09:22.969" v="1481" actId="207"/>
            <ac:spMkLst>
              <pc:docMk/>
              <pc:sldMasterMk cId="1768845998" sldId="2147483684"/>
              <pc:sldLayoutMk cId="652738360" sldId="2147483714"/>
              <ac:spMk id="7" creationId="{4D93EF8A-C553-456A-8855-BC2209C595EA}"/>
            </ac:spMkLst>
          </pc:spChg>
        </pc:sldLayoutChg>
        <pc:sldLayoutChg chg="delSp modSp add mod replId setBg">
          <pc:chgData name="Schindler, Diana" userId="5d2d35c8-52b3-424f-9285-822ca605bab7" providerId="ADAL" clId="{F210D7CE-8124-2A4F-ACFD-C7A55A9BD0F0}" dt="2022-08-22T15:23:42.599" v="1538" actId="12"/>
          <pc:sldLayoutMkLst>
            <pc:docMk/>
            <pc:sldMasterMk cId="1768845998" sldId="2147483684"/>
            <pc:sldLayoutMk cId="3050641926" sldId="2147483715"/>
          </pc:sldLayoutMkLst>
          <pc:spChg chg="mod">
            <ac:chgData name="Schindler, Diana" userId="5d2d35c8-52b3-424f-9285-822ca605bab7" providerId="ADAL" clId="{F210D7CE-8124-2A4F-ACFD-C7A55A9BD0F0}" dt="2022-08-22T15:15:28.800" v="1507" actId="207"/>
            <ac:spMkLst>
              <pc:docMk/>
              <pc:sldMasterMk cId="1768845998" sldId="2147483684"/>
              <pc:sldLayoutMk cId="3050641926" sldId="2147483715"/>
              <ac:spMk id="5" creationId="{DCAB2934-C1F1-4C84-8F44-C2C2C2A06FA0}"/>
            </ac:spMkLst>
          </pc:spChg>
          <pc:spChg chg="mod">
            <ac:chgData name="Schindler, Diana" userId="5d2d35c8-52b3-424f-9285-822ca605bab7" providerId="ADAL" clId="{F210D7CE-8124-2A4F-ACFD-C7A55A9BD0F0}" dt="2022-08-22T15:22:46.375" v="1537" actId="12"/>
            <ac:spMkLst>
              <pc:docMk/>
              <pc:sldMasterMk cId="1768845998" sldId="2147483684"/>
              <pc:sldLayoutMk cId="3050641926" sldId="2147483715"/>
              <ac:spMk id="12" creationId="{E70650A6-A24B-498D-9EFD-E657A8C86859}"/>
            </ac:spMkLst>
          </pc:spChg>
          <pc:spChg chg="mod">
            <ac:chgData name="Schindler, Diana" userId="5d2d35c8-52b3-424f-9285-822ca605bab7" providerId="ADAL" clId="{F210D7CE-8124-2A4F-ACFD-C7A55A9BD0F0}" dt="2022-08-22T15:23:42.599" v="1538" actId="12"/>
            <ac:spMkLst>
              <pc:docMk/>
              <pc:sldMasterMk cId="1768845998" sldId="2147483684"/>
              <pc:sldLayoutMk cId="3050641926" sldId="2147483715"/>
              <ac:spMk id="13" creationId="{11984634-E143-4B7F-A5F6-A2B3CAA93413}"/>
            </ac:spMkLst>
          </pc:spChg>
          <pc:picChg chg="del">
            <ac:chgData name="Schindler, Diana" userId="5d2d35c8-52b3-424f-9285-822ca605bab7" providerId="ADAL" clId="{F210D7CE-8124-2A4F-ACFD-C7A55A9BD0F0}" dt="2022-08-22T15:09:53.242" v="1484" actId="478"/>
            <ac:picMkLst>
              <pc:docMk/>
              <pc:sldMasterMk cId="1768845998" sldId="2147483684"/>
              <pc:sldLayoutMk cId="3050641926" sldId="2147483715"/>
              <ac:picMk id="11" creationId="{32D1F650-5CAB-42D2-955B-132A759D7E03}"/>
            </ac:picMkLst>
          </pc:picChg>
        </pc:sldLayoutChg>
        <pc:sldLayoutChg chg="delSp modSp add mod replId setBg">
          <pc:chgData name="Schindler, Diana" userId="5d2d35c8-52b3-424f-9285-822ca605bab7" providerId="ADAL" clId="{F210D7CE-8124-2A4F-ACFD-C7A55A9BD0F0}" dt="2022-08-22T15:24:01.296" v="1539" actId="12"/>
          <pc:sldLayoutMkLst>
            <pc:docMk/>
            <pc:sldMasterMk cId="1768845998" sldId="2147483684"/>
            <pc:sldLayoutMk cId="4200522681" sldId="2147483716"/>
          </pc:sldLayoutMkLst>
          <pc:spChg chg="mod">
            <ac:chgData name="Schindler, Diana" userId="5d2d35c8-52b3-424f-9285-822ca605bab7" providerId="ADAL" clId="{F210D7CE-8124-2A4F-ACFD-C7A55A9BD0F0}" dt="2022-08-22T15:15:39.539" v="1508" actId="207"/>
            <ac:spMkLst>
              <pc:docMk/>
              <pc:sldMasterMk cId="1768845998" sldId="2147483684"/>
              <pc:sldLayoutMk cId="4200522681" sldId="2147483716"/>
              <ac:spMk id="5" creationId="{C2651F15-C668-4A10-A0A3-FAF165CE5778}"/>
            </ac:spMkLst>
          </pc:spChg>
          <pc:spChg chg="mod">
            <ac:chgData name="Schindler, Diana" userId="5d2d35c8-52b3-424f-9285-822ca605bab7" providerId="ADAL" clId="{F210D7CE-8124-2A4F-ACFD-C7A55A9BD0F0}" dt="2022-08-22T15:24:01.296" v="1539" actId="12"/>
            <ac:spMkLst>
              <pc:docMk/>
              <pc:sldMasterMk cId="1768845998" sldId="2147483684"/>
              <pc:sldLayoutMk cId="4200522681" sldId="2147483716"/>
              <ac:spMk id="12" creationId="{E70650A6-A24B-498D-9EFD-E657A8C86859}"/>
            </ac:spMkLst>
          </pc:spChg>
          <pc:picChg chg="del">
            <ac:chgData name="Schindler, Diana" userId="5d2d35c8-52b3-424f-9285-822ca605bab7" providerId="ADAL" clId="{F210D7CE-8124-2A4F-ACFD-C7A55A9BD0F0}" dt="2022-08-22T15:10:06.472" v="1486" actId="478"/>
            <ac:picMkLst>
              <pc:docMk/>
              <pc:sldMasterMk cId="1768845998" sldId="2147483684"/>
              <pc:sldLayoutMk cId="4200522681" sldId="2147483716"/>
              <ac:picMk id="7" creationId="{021B20DC-25FC-4FB7-9E88-AC426D9AEE31}"/>
            </ac:picMkLst>
          </pc:picChg>
        </pc:sldLayoutChg>
        <pc:sldLayoutChg chg="delSp modSp add mod replId setBg">
          <pc:chgData name="Schindler, Diana" userId="5d2d35c8-52b3-424f-9285-822ca605bab7" providerId="ADAL" clId="{F210D7CE-8124-2A4F-ACFD-C7A55A9BD0F0}" dt="2022-08-22T15:16:06.361" v="1512"/>
          <pc:sldLayoutMkLst>
            <pc:docMk/>
            <pc:sldMasterMk cId="1768845998" sldId="2147483684"/>
            <pc:sldLayoutMk cId="2073511689" sldId="2147483717"/>
          </pc:sldLayoutMkLst>
          <pc:spChg chg="mod">
            <ac:chgData name="Schindler, Diana" userId="5d2d35c8-52b3-424f-9285-822ca605bab7" providerId="ADAL" clId="{F210D7CE-8124-2A4F-ACFD-C7A55A9BD0F0}" dt="2022-08-22T15:15:59.359" v="1511" actId="207"/>
            <ac:spMkLst>
              <pc:docMk/>
              <pc:sldMasterMk cId="1768845998" sldId="2147483684"/>
              <pc:sldLayoutMk cId="2073511689" sldId="2147483717"/>
              <ac:spMk id="5" creationId="{91AABAC3-25E9-4FD5-A979-0D9205BDA291}"/>
            </ac:spMkLst>
          </pc:spChg>
          <pc:picChg chg="del">
            <ac:chgData name="Schindler, Diana" userId="5d2d35c8-52b3-424f-9285-822ca605bab7" providerId="ADAL" clId="{F210D7CE-8124-2A4F-ACFD-C7A55A9BD0F0}" dt="2022-08-22T15:10:27.829" v="1488" actId="478"/>
            <ac:picMkLst>
              <pc:docMk/>
              <pc:sldMasterMk cId="1768845998" sldId="2147483684"/>
              <pc:sldLayoutMk cId="2073511689" sldId="2147483717"/>
              <ac:picMk id="9" creationId="{10515667-7470-40B6-A0E6-9E11C6BF9AA4}"/>
            </ac:picMkLst>
          </pc:picChg>
        </pc:sldLayoutChg>
        <pc:sldLayoutChg chg="delSp modSp add mod replId setBg">
          <pc:chgData name="Schindler, Diana" userId="5d2d35c8-52b3-424f-9285-822ca605bab7" providerId="ADAL" clId="{F210D7CE-8124-2A4F-ACFD-C7A55A9BD0F0}" dt="2022-08-22T15:16:18.203" v="1513" actId="207"/>
          <pc:sldLayoutMkLst>
            <pc:docMk/>
            <pc:sldMasterMk cId="1768845998" sldId="2147483684"/>
            <pc:sldLayoutMk cId="2346497118" sldId="2147483718"/>
          </pc:sldLayoutMkLst>
          <pc:spChg chg="mod">
            <ac:chgData name="Schindler, Diana" userId="5d2d35c8-52b3-424f-9285-822ca605bab7" providerId="ADAL" clId="{F210D7CE-8124-2A4F-ACFD-C7A55A9BD0F0}" dt="2022-08-22T15:16:18.203" v="1513" actId="207"/>
            <ac:spMkLst>
              <pc:docMk/>
              <pc:sldMasterMk cId="1768845998" sldId="2147483684"/>
              <pc:sldLayoutMk cId="2346497118" sldId="2147483718"/>
              <ac:spMk id="11" creationId="{112A4851-5ABB-4547-91F1-5CE8A8EDE354}"/>
            </ac:spMkLst>
          </pc:spChg>
          <pc:picChg chg="del">
            <ac:chgData name="Schindler, Diana" userId="5d2d35c8-52b3-424f-9285-822ca605bab7" providerId="ADAL" clId="{F210D7CE-8124-2A4F-ACFD-C7A55A9BD0F0}" dt="2022-08-22T15:10:35.277" v="1490" actId="478"/>
            <ac:picMkLst>
              <pc:docMk/>
              <pc:sldMasterMk cId="1768845998" sldId="2147483684"/>
              <pc:sldLayoutMk cId="2346497118" sldId="2147483718"/>
              <ac:picMk id="9" creationId="{CBD1DDF1-BF01-452B-BE43-190ED3282E2B}"/>
            </ac:picMkLst>
          </pc:picChg>
        </pc:sldLayoutChg>
        <pc:sldLayoutChg chg="add mod replId">
          <pc:chgData name="Schindler, Diana" userId="5d2d35c8-52b3-424f-9285-822ca605bab7" providerId="ADAL" clId="{F210D7CE-8124-2A4F-ACFD-C7A55A9BD0F0}" dt="2022-08-21T16:07:29.932" v="1387" actId="2890"/>
          <pc:sldLayoutMkLst>
            <pc:docMk/>
            <pc:sldMasterMk cId="1768845998" sldId="2147483684"/>
            <pc:sldLayoutMk cId="243645169" sldId="2147483719"/>
          </pc:sldLayoutMkLst>
        </pc:sldLayoutChg>
      </pc:sldMasterChg>
    </pc:docChg>
  </pc:docChgLst>
  <pc:docChgLst>
    <pc:chgData name="Safronova, Anastasiia" userId="a127b633-6a54-4326-8462-a86c2427623d" providerId="ADAL" clId="{B290904B-EDD8-486E-A6D1-4A16FA5436B9}"/>
    <pc:docChg chg="undo custSel modSld">
      <pc:chgData name="Safronova, Anastasiia" userId="a127b633-6a54-4326-8462-a86c2427623d" providerId="ADAL" clId="{B290904B-EDD8-486E-A6D1-4A16FA5436B9}" dt="2024-03-01T13:02:51.886" v="3" actId="1076"/>
      <pc:docMkLst>
        <pc:docMk/>
      </pc:docMkLst>
      <pc:sldChg chg="modSp mod">
        <pc:chgData name="Safronova, Anastasiia" userId="a127b633-6a54-4326-8462-a86c2427623d" providerId="ADAL" clId="{B290904B-EDD8-486E-A6D1-4A16FA5436B9}" dt="2024-03-01T13:02:51.886" v="3" actId="1076"/>
        <pc:sldMkLst>
          <pc:docMk/>
          <pc:sldMk cId="3180910665" sldId="305"/>
        </pc:sldMkLst>
        <pc:picChg chg="mod">
          <ac:chgData name="Safronova, Anastasiia" userId="a127b633-6a54-4326-8462-a86c2427623d" providerId="ADAL" clId="{B290904B-EDD8-486E-A6D1-4A16FA5436B9}" dt="2024-03-01T13:02:51.886" v="3" actId="1076"/>
          <ac:picMkLst>
            <pc:docMk/>
            <pc:sldMk cId="3180910665" sldId="305"/>
            <ac:picMk id="33" creationId="{463BEBED-68F1-408A-A32F-4C452F1059E9}"/>
          </ac:picMkLst>
        </pc:picChg>
        <pc:picChg chg="mod">
          <ac:chgData name="Safronova, Anastasiia" userId="a127b633-6a54-4326-8462-a86c2427623d" providerId="ADAL" clId="{B290904B-EDD8-486E-A6D1-4A16FA5436B9}" dt="2024-03-01T13:02:49.523" v="2" actId="1076"/>
          <ac:picMkLst>
            <pc:docMk/>
            <pc:sldMk cId="3180910665" sldId="305"/>
            <ac:picMk id="46" creationId="{6C4111F9-1526-4CC1-8A25-48A0ECE8D2BD}"/>
          </ac:picMkLst>
        </pc:picChg>
      </pc:sldChg>
    </pc:docChg>
  </pc:docChgLst>
  <pc:docChgLst>
    <pc:chgData name="Pieperhoff, Jan-Hendrik" userId="1da0bf0b-ea76-4166-9080-b6dddd53370b" providerId="ADAL" clId="{F5488FF3-97F7-A045-9D75-7B46FB000CAA}"/>
    <pc:docChg chg="custSel addSld modSld">
      <pc:chgData name="Pieperhoff, Jan-Hendrik" userId="1da0bf0b-ea76-4166-9080-b6dddd53370b" providerId="ADAL" clId="{F5488FF3-97F7-A045-9D75-7B46FB000CAA}" dt="2022-08-29T12:07:36.564" v="187" actId="20577"/>
      <pc:docMkLst>
        <pc:docMk/>
      </pc:docMkLst>
      <pc:sldChg chg="addSp delSp modSp mod">
        <pc:chgData name="Pieperhoff, Jan-Hendrik" userId="1da0bf0b-ea76-4166-9080-b6dddd53370b" providerId="ADAL" clId="{F5488FF3-97F7-A045-9D75-7B46FB000CAA}" dt="2022-08-29T12:07:36.564" v="187" actId="20577"/>
        <pc:sldMkLst>
          <pc:docMk/>
          <pc:sldMk cId="2488269711" sldId="354"/>
        </pc:sldMkLst>
        <pc:spChg chg="add del mod">
          <ac:chgData name="Pieperhoff, Jan-Hendrik" userId="1da0bf0b-ea76-4166-9080-b6dddd53370b" providerId="ADAL" clId="{F5488FF3-97F7-A045-9D75-7B46FB000CAA}" dt="2022-08-29T08:54:17.948" v="178"/>
          <ac:spMkLst>
            <pc:docMk/>
            <pc:sldMk cId="2488269711" sldId="354"/>
            <ac:spMk id="5" creationId="{23FB2B4D-326D-7A70-EE84-4742326B3328}"/>
          </ac:spMkLst>
        </pc:spChg>
        <pc:spChg chg="add del mod">
          <ac:chgData name="Pieperhoff, Jan-Hendrik" userId="1da0bf0b-ea76-4166-9080-b6dddd53370b" providerId="ADAL" clId="{F5488FF3-97F7-A045-9D75-7B46FB000CAA}" dt="2022-08-29T08:54:20.541" v="180"/>
          <ac:spMkLst>
            <pc:docMk/>
            <pc:sldMk cId="2488269711" sldId="354"/>
            <ac:spMk id="6" creationId="{E80D570B-84EA-64C2-237E-035834EBD81F}"/>
          </ac:spMkLst>
        </pc:spChg>
        <pc:spChg chg="mod">
          <ac:chgData name="Pieperhoff, Jan-Hendrik" userId="1da0bf0b-ea76-4166-9080-b6dddd53370b" providerId="ADAL" clId="{F5488FF3-97F7-A045-9D75-7B46FB000CAA}" dt="2022-08-29T12:07:36.564" v="187" actId="20577"/>
          <ac:spMkLst>
            <pc:docMk/>
            <pc:sldMk cId="2488269711" sldId="354"/>
            <ac:spMk id="21" creationId="{7EB2EE10-BFFB-4BE6-9A94-BE12E1F2606A}"/>
          </ac:spMkLst>
        </pc:spChg>
        <pc:spChg chg="mod">
          <ac:chgData name="Pieperhoff, Jan-Hendrik" userId="1da0bf0b-ea76-4166-9080-b6dddd53370b" providerId="ADAL" clId="{F5488FF3-97F7-A045-9D75-7B46FB000CAA}" dt="2022-08-29T08:50:07.529" v="172" actId="20577"/>
          <ac:spMkLst>
            <pc:docMk/>
            <pc:sldMk cId="2488269711" sldId="354"/>
            <ac:spMk id="26" creationId="{EF9637FE-E500-4538-95D6-F7CA8748E916}"/>
          </ac:spMkLst>
        </pc:spChg>
        <pc:spChg chg="mod">
          <ac:chgData name="Pieperhoff, Jan-Hendrik" userId="1da0bf0b-ea76-4166-9080-b6dddd53370b" providerId="ADAL" clId="{F5488FF3-97F7-A045-9D75-7B46FB000CAA}" dt="2022-08-29T08:49:36.479" v="51" actId="20577"/>
          <ac:spMkLst>
            <pc:docMk/>
            <pc:sldMk cId="2488269711" sldId="354"/>
            <ac:spMk id="41" creationId="{CB422DC8-C220-4CBC-B887-C1405B67DA46}"/>
          </ac:spMkLst>
        </pc:spChg>
      </pc:sldChg>
      <pc:sldChg chg="modSp mod">
        <pc:chgData name="Pieperhoff, Jan-Hendrik" userId="1da0bf0b-ea76-4166-9080-b6dddd53370b" providerId="ADAL" clId="{F5488FF3-97F7-A045-9D75-7B46FB000CAA}" dt="2022-08-29T08:54:06.747" v="176" actId="20577"/>
        <pc:sldMkLst>
          <pc:docMk/>
          <pc:sldMk cId="1447548028" sldId="2076137051"/>
        </pc:sldMkLst>
        <pc:spChg chg="mod">
          <ac:chgData name="Pieperhoff, Jan-Hendrik" userId="1da0bf0b-ea76-4166-9080-b6dddd53370b" providerId="ADAL" clId="{F5488FF3-97F7-A045-9D75-7B46FB000CAA}" dt="2022-08-29T08:54:06.747" v="176" actId="20577"/>
          <ac:spMkLst>
            <pc:docMk/>
            <pc:sldMk cId="1447548028" sldId="2076137051"/>
            <ac:spMk id="6" creationId="{0AC967B8-2EFA-4836-995E-2C6BC62BD4E0}"/>
          </ac:spMkLst>
        </pc:spChg>
      </pc:sldChg>
      <pc:sldChg chg="add">
        <pc:chgData name="Pieperhoff, Jan-Hendrik" userId="1da0bf0b-ea76-4166-9080-b6dddd53370b" providerId="ADAL" clId="{F5488FF3-97F7-A045-9D75-7B46FB000CAA}" dt="2022-08-29T08:54:42.569" v="181"/>
        <pc:sldMkLst>
          <pc:docMk/>
          <pc:sldMk cId="333333665" sldId="2076137170"/>
        </pc:sldMkLst>
      </pc:sldChg>
    </pc:docChg>
  </pc:docChgLst>
  <pc:docChgLst>
    <pc:chgData name="Preiß, Lukas" userId="9bd80747-3ae8-4ffd-9630-4cff2a61861f" providerId="ADAL" clId="{3885AA5A-E6DC-4D1C-A83F-647D294A9892}"/>
    <pc:docChg chg="modSld">
      <pc:chgData name="Preiß, Lukas" userId="9bd80747-3ae8-4ffd-9630-4cff2a61861f" providerId="ADAL" clId="{3885AA5A-E6DC-4D1C-A83F-647D294A9892}" dt="2024-02-08T13:55:40.293" v="0" actId="6549"/>
      <pc:docMkLst>
        <pc:docMk/>
      </pc:docMkLst>
      <pc:sldChg chg="modSp mod">
        <pc:chgData name="Preiß, Lukas" userId="9bd80747-3ae8-4ffd-9630-4cff2a61861f" providerId="ADAL" clId="{3885AA5A-E6DC-4D1C-A83F-647D294A9892}" dt="2024-02-08T13:55:40.293" v="0" actId="6549"/>
        <pc:sldMkLst>
          <pc:docMk/>
          <pc:sldMk cId="635101242" sldId="2076137166"/>
        </pc:sldMkLst>
        <pc:spChg chg="mod">
          <ac:chgData name="Preiß, Lukas" userId="9bd80747-3ae8-4ffd-9630-4cff2a61861f" providerId="ADAL" clId="{3885AA5A-E6DC-4D1C-A83F-647D294A9892}" dt="2024-02-08T13:55:40.293" v="0" actId="6549"/>
          <ac:spMkLst>
            <pc:docMk/>
            <pc:sldMk cId="635101242" sldId="2076137166"/>
            <ac:spMk id="2" creationId="{0CABCF18-A8BA-22CA-7A8D-0654A678B506}"/>
          </ac:spMkLst>
        </pc:spChg>
      </pc:sldChg>
    </pc:docChg>
  </pc:docChgLst>
  <pc:docChgLst>
    <pc:chgData name="Skrybski, Kirsten" userId="S::kirsten.skrybski@adesso.de::d624a791-4d2f-4179-a30d-467d5d24e006" providerId="AD" clId="Web-{F0F446E5-AD29-44AD-5DFC-38B84E5AFEAC}"/>
    <pc:docChg chg="delSld modSection">
      <pc:chgData name="Skrybski, Kirsten" userId="S::kirsten.skrybski@adesso.de::d624a791-4d2f-4179-a30d-467d5d24e006" providerId="AD" clId="Web-{F0F446E5-AD29-44AD-5DFC-38B84E5AFEAC}" dt="2023-11-29T10:23:14.170" v="0"/>
      <pc:docMkLst>
        <pc:docMk/>
      </pc:docMkLst>
      <pc:sldChg chg="del">
        <pc:chgData name="Skrybski, Kirsten" userId="S::kirsten.skrybski@adesso.de::d624a791-4d2f-4179-a30d-467d5d24e006" providerId="AD" clId="Web-{F0F446E5-AD29-44AD-5DFC-38B84E5AFEAC}" dt="2023-11-29T10:23:14.170" v="0"/>
        <pc:sldMkLst>
          <pc:docMk/>
          <pc:sldMk cId="701899504" sldId="2076137171"/>
        </pc:sldMkLst>
      </pc:sldChg>
    </pc:docChg>
  </pc:docChgLst>
  <pc:docChgLst>
    <pc:chgData name="Quadan, Salam" userId="S::salam.quadan@adesso.de::27938777-4b30-4e9e-a81e-beb61c402f5d" providerId="AD" clId="Web-{3B82A6CB-30AD-32E4-3887-3300B61F67BE}"/>
    <pc:docChg chg="modSld">
      <pc:chgData name="Quadan, Salam" userId="S::salam.quadan@adesso.de::27938777-4b30-4e9e-a81e-beb61c402f5d" providerId="AD" clId="Web-{3B82A6CB-30AD-32E4-3887-3300B61F67BE}" dt="2023-12-11T15:29:33.544" v="3" actId="20577"/>
      <pc:docMkLst>
        <pc:docMk/>
      </pc:docMkLst>
      <pc:sldChg chg="modSp">
        <pc:chgData name="Quadan, Salam" userId="S::salam.quadan@adesso.de::27938777-4b30-4e9e-a81e-beb61c402f5d" providerId="AD" clId="Web-{3B82A6CB-30AD-32E4-3887-3300B61F67BE}" dt="2023-12-11T15:29:33.544" v="3" actId="20577"/>
        <pc:sldMkLst>
          <pc:docMk/>
          <pc:sldMk cId="203827740" sldId="353"/>
        </pc:sldMkLst>
        <pc:spChg chg="mod">
          <ac:chgData name="Quadan, Salam" userId="S::salam.quadan@adesso.de::27938777-4b30-4e9e-a81e-beb61c402f5d" providerId="AD" clId="Web-{3B82A6CB-30AD-32E4-3887-3300B61F67BE}" dt="2023-12-11T15:29:33.544" v="3" actId="20577"/>
          <ac:spMkLst>
            <pc:docMk/>
            <pc:sldMk cId="203827740" sldId="353"/>
            <ac:spMk id="36" creationId="{A1B80F5C-609B-43C5-8C45-B3DF5F986F55}"/>
          </ac:spMkLst>
        </pc:spChg>
        <pc:spChg chg="mod">
          <ac:chgData name="Quadan, Salam" userId="S::salam.quadan@adesso.de::27938777-4b30-4e9e-a81e-beb61c402f5d" providerId="AD" clId="Web-{3B82A6CB-30AD-32E4-3887-3300B61F67BE}" dt="2023-12-11T15:29:25.059" v="1" actId="20577"/>
          <ac:spMkLst>
            <pc:docMk/>
            <pc:sldMk cId="203827740" sldId="353"/>
            <ac:spMk id="51" creationId="{4652C21F-3B02-45C9-AAEB-BB4A430A4E7B}"/>
          </ac:spMkLst>
        </pc:spChg>
      </pc:sldChg>
    </pc:docChg>
  </pc:docChgLst>
  <pc:docChgLst>
    <pc:chgData name="Schindler, Diana" userId="5d2d35c8-52b3-424f-9285-822ca605bab7" providerId="ADAL" clId="{E9FFDEA9-382C-EC4F-8B94-383EAF7324FA}"/>
    <pc:docChg chg="custSel addSld modSld modSection">
      <pc:chgData name="Schindler, Diana" userId="5d2d35c8-52b3-424f-9285-822ca605bab7" providerId="ADAL" clId="{E9FFDEA9-382C-EC4F-8B94-383EAF7324FA}" dt="2022-08-22T16:23:06.682" v="646" actId="20577"/>
      <pc:docMkLst>
        <pc:docMk/>
      </pc:docMkLst>
      <pc:sldChg chg="addSp modSp addCm">
        <pc:chgData name="Schindler, Diana" userId="5d2d35c8-52b3-424f-9285-822ca605bab7" providerId="ADAL" clId="{E9FFDEA9-382C-EC4F-8B94-383EAF7324FA}" dt="2022-08-22T15:54:11.626" v="28" actId="20577"/>
        <pc:sldMkLst>
          <pc:docMk/>
          <pc:sldMk cId="304257319" sldId="2076137160"/>
        </pc:sldMkLst>
        <pc:spChg chg="add">
          <ac:chgData name="Schindler, Diana" userId="5d2d35c8-52b3-424f-9285-822ca605bab7" providerId="ADAL" clId="{E9FFDEA9-382C-EC4F-8B94-383EAF7324FA}" dt="2022-08-22T15:49:57.674" v="0" actId="139"/>
          <ac:spMkLst>
            <pc:docMk/>
            <pc:sldMk cId="304257319" sldId="2076137160"/>
            <ac:spMk id="7" creationId="{64443B75-B805-1CF5-6BEF-01D677027337}"/>
          </ac:spMkLst>
        </pc:spChg>
        <pc:spChg chg="mod">
          <ac:chgData name="Schindler, Diana" userId="5d2d35c8-52b3-424f-9285-822ca605bab7" providerId="ADAL" clId="{E9FFDEA9-382C-EC4F-8B94-383EAF7324FA}" dt="2022-08-22T15:54:11.626" v="28" actId="20577"/>
          <ac:spMkLst>
            <pc:docMk/>
            <pc:sldMk cId="304257319" sldId="2076137160"/>
            <ac:spMk id="51" creationId="{DE79E29A-9699-4F25-AD5D-FD888E87D300}"/>
          </ac:spMkLst>
        </pc:spChg>
      </pc:sldChg>
      <pc:sldChg chg="modSp new mod modClrScheme chgLayout">
        <pc:chgData name="Schindler, Diana" userId="5d2d35c8-52b3-424f-9285-822ca605bab7" providerId="ADAL" clId="{E9FFDEA9-382C-EC4F-8B94-383EAF7324FA}" dt="2022-08-22T16:23:06.682" v="646" actId="20577"/>
        <pc:sldMkLst>
          <pc:docMk/>
          <pc:sldMk cId="3255405018" sldId="2076137169"/>
        </pc:sldMkLst>
        <pc:spChg chg="mod ord">
          <ac:chgData name="Schindler, Diana" userId="5d2d35c8-52b3-424f-9285-822ca605bab7" providerId="ADAL" clId="{E9FFDEA9-382C-EC4F-8B94-383EAF7324FA}" dt="2022-08-22T16:02:16.206" v="30" actId="700"/>
          <ac:spMkLst>
            <pc:docMk/>
            <pc:sldMk cId="3255405018" sldId="2076137169"/>
            <ac:spMk id="2" creationId="{4FD48261-9A97-ADC5-6BE0-56AFDD0E6F7F}"/>
          </ac:spMkLst>
        </pc:spChg>
        <pc:spChg chg="mod ord">
          <ac:chgData name="Schindler, Diana" userId="5d2d35c8-52b3-424f-9285-822ca605bab7" providerId="ADAL" clId="{E9FFDEA9-382C-EC4F-8B94-383EAF7324FA}" dt="2022-08-22T16:02:16.206" v="30" actId="700"/>
          <ac:spMkLst>
            <pc:docMk/>
            <pc:sldMk cId="3255405018" sldId="2076137169"/>
            <ac:spMk id="3" creationId="{3274E88B-890E-470D-C786-CF76A37385A7}"/>
          </ac:spMkLst>
        </pc:spChg>
        <pc:spChg chg="mod ord">
          <ac:chgData name="Schindler, Diana" userId="5d2d35c8-52b3-424f-9285-822ca605bab7" providerId="ADAL" clId="{E9FFDEA9-382C-EC4F-8B94-383EAF7324FA}" dt="2022-08-22T16:23:06.682" v="646" actId="20577"/>
          <ac:spMkLst>
            <pc:docMk/>
            <pc:sldMk cId="3255405018" sldId="2076137169"/>
            <ac:spMk id="4" creationId="{F74EA4E3-DF58-8DF6-8C48-3FBA04B562E0}"/>
          </ac:spMkLst>
        </pc:spChg>
        <pc:spChg chg="mod ord">
          <ac:chgData name="Schindler, Diana" userId="5d2d35c8-52b3-424f-9285-822ca605bab7" providerId="ADAL" clId="{E9FFDEA9-382C-EC4F-8B94-383EAF7324FA}" dt="2022-08-22T16:02:16.206" v="30" actId="700"/>
          <ac:spMkLst>
            <pc:docMk/>
            <pc:sldMk cId="3255405018" sldId="2076137169"/>
            <ac:spMk id="5" creationId="{2E33D1A8-3B96-0366-D322-5347929270D1}"/>
          </ac:spMkLst>
        </pc:spChg>
      </pc:sldChg>
    </pc:docChg>
  </pc:docChgLst>
  <pc:docChgLst>
    <pc:chgData name="Quadan, Salam" userId="27938777-4b30-4e9e-a81e-beb61c402f5d" providerId="ADAL" clId="{3240E14D-0CD3-7649-AC11-8B59222052B8}"/>
    <pc:docChg chg="modSld">
      <pc:chgData name="Quadan, Salam" userId="27938777-4b30-4e9e-a81e-beb61c402f5d" providerId="ADAL" clId="{3240E14D-0CD3-7649-AC11-8B59222052B8}" dt="2023-12-11T15:28:50.301" v="11" actId="20577"/>
      <pc:docMkLst>
        <pc:docMk/>
      </pc:docMkLst>
      <pc:sldChg chg="modSp mod">
        <pc:chgData name="Quadan, Salam" userId="27938777-4b30-4e9e-a81e-beb61c402f5d" providerId="ADAL" clId="{3240E14D-0CD3-7649-AC11-8B59222052B8}" dt="2023-12-11T15:28:50.301" v="11" actId="20577"/>
        <pc:sldMkLst>
          <pc:docMk/>
          <pc:sldMk cId="203827740" sldId="353"/>
        </pc:sldMkLst>
        <pc:spChg chg="mod">
          <ac:chgData name="Quadan, Salam" userId="27938777-4b30-4e9e-a81e-beb61c402f5d" providerId="ADAL" clId="{3240E14D-0CD3-7649-AC11-8B59222052B8}" dt="2023-12-11T15:28:50.301" v="11" actId="20577"/>
          <ac:spMkLst>
            <pc:docMk/>
            <pc:sldMk cId="203827740" sldId="353"/>
            <ac:spMk id="36" creationId="{A1B80F5C-609B-43C5-8C45-B3DF5F986F55}"/>
          </ac:spMkLst>
        </pc:spChg>
        <pc:spChg chg="mod">
          <ac:chgData name="Quadan, Salam" userId="27938777-4b30-4e9e-a81e-beb61c402f5d" providerId="ADAL" clId="{3240E14D-0CD3-7649-AC11-8B59222052B8}" dt="2023-12-11T15:28:30.585" v="5" actId="20577"/>
          <ac:spMkLst>
            <pc:docMk/>
            <pc:sldMk cId="203827740" sldId="353"/>
            <ac:spMk id="51" creationId="{4652C21F-3B02-45C9-AAEB-BB4A430A4E7B}"/>
          </ac:spMkLst>
        </pc:spChg>
      </pc:sldChg>
    </pc:docChg>
  </pc:docChgLst>
  <pc:docChgLst>
    <pc:chgData name="Wilmes, Thorsten" userId="043015be-11ab-4970-bfd8-fcec05dafd14" providerId="ADAL" clId="{809162B7-0EF9-8B47-BDAA-45E5A34BFEDE}"/>
    <pc:docChg chg="custSel modSld">
      <pc:chgData name="Wilmes, Thorsten" userId="043015be-11ab-4970-bfd8-fcec05dafd14" providerId="ADAL" clId="{809162B7-0EF9-8B47-BDAA-45E5A34BFEDE}" dt="2024-02-22T12:37:59.460" v="8" actId="14100"/>
      <pc:docMkLst>
        <pc:docMk/>
      </pc:docMkLst>
      <pc:sldChg chg="delSp modSp mod">
        <pc:chgData name="Wilmes, Thorsten" userId="043015be-11ab-4970-bfd8-fcec05dafd14" providerId="ADAL" clId="{809162B7-0EF9-8B47-BDAA-45E5A34BFEDE}" dt="2024-02-22T12:37:59.460" v="8" actId="14100"/>
        <pc:sldMkLst>
          <pc:docMk/>
          <pc:sldMk cId="2491066175" sldId="356"/>
        </pc:sldMkLst>
        <pc:grpChg chg="mod">
          <ac:chgData name="Wilmes, Thorsten" userId="043015be-11ab-4970-bfd8-fcec05dafd14" providerId="ADAL" clId="{809162B7-0EF9-8B47-BDAA-45E5A34BFEDE}" dt="2024-02-22T12:37:33.610" v="0" actId="14100"/>
          <ac:grpSpMkLst>
            <pc:docMk/>
            <pc:sldMk cId="2491066175" sldId="356"/>
            <ac:grpSpMk id="5" creationId="{CEA679BE-A032-4343-B44F-7AF7311ACB44}"/>
          </ac:grpSpMkLst>
        </pc:grpChg>
        <pc:grpChg chg="mod">
          <ac:chgData name="Wilmes, Thorsten" userId="043015be-11ab-4970-bfd8-fcec05dafd14" providerId="ADAL" clId="{809162B7-0EF9-8B47-BDAA-45E5A34BFEDE}" dt="2024-02-22T12:37:37.523" v="1" actId="14100"/>
          <ac:grpSpMkLst>
            <pc:docMk/>
            <pc:sldMk cId="2491066175" sldId="356"/>
            <ac:grpSpMk id="6" creationId="{991D323A-9582-F249-8E45-E9AF30B75981}"/>
          </ac:grpSpMkLst>
        </pc:grpChg>
        <pc:grpChg chg="mod">
          <ac:chgData name="Wilmes, Thorsten" userId="043015be-11ab-4970-bfd8-fcec05dafd14" providerId="ADAL" clId="{809162B7-0EF9-8B47-BDAA-45E5A34BFEDE}" dt="2024-02-22T12:37:40.946" v="2" actId="14100"/>
          <ac:grpSpMkLst>
            <pc:docMk/>
            <pc:sldMk cId="2491066175" sldId="356"/>
            <ac:grpSpMk id="7" creationId="{9F1689A4-90EF-FA43-B4C5-9A5024B67467}"/>
          </ac:grpSpMkLst>
        </pc:grpChg>
        <pc:grpChg chg="mod">
          <ac:chgData name="Wilmes, Thorsten" userId="043015be-11ab-4970-bfd8-fcec05dafd14" providerId="ADAL" clId="{809162B7-0EF9-8B47-BDAA-45E5A34BFEDE}" dt="2024-02-22T12:37:43.599" v="3" actId="14100"/>
          <ac:grpSpMkLst>
            <pc:docMk/>
            <pc:sldMk cId="2491066175" sldId="356"/>
            <ac:grpSpMk id="8" creationId="{9705CA92-857E-C744-8EBD-D2AE1D1E004C}"/>
          </ac:grpSpMkLst>
        </pc:grpChg>
        <pc:grpChg chg="mod">
          <ac:chgData name="Wilmes, Thorsten" userId="043015be-11ab-4970-bfd8-fcec05dafd14" providerId="ADAL" clId="{809162B7-0EF9-8B47-BDAA-45E5A34BFEDE}" dt="2024-02-22T12:37:47.097" v="4" actId="14100"/>
          <ac:grpSpMkLst>
            <pc:docMk/>
            <pc:sldMk cId="2491066175" sldId="356"/>
            <ac:grpSpMk id="9" creationId="{58912B4E-3C01-1148-83A9-63A09AB00595}"/>
          </ac:grpSpMkLst>
        </pc:grpChg>
        <pc:grpChg chg="mod">
          <ac:chgData name="Wilmes, Thorsten" userId="043015be-11ab-4970-bfd8-fcec05dafd14" providerId="ADAL" clId="{809162B7-0EF9-8B47-BDAA-45E5A34BFEDE}" dt="2024-02-22T12:37:50.098" v="5" actId="14100"/>
          <ac:grpSpMkLst>
            <pc:docMk/>
            <pc:sldMk cId="2491066175" sldId="356"/>
            <ac:grpSpMk id="10" creationId="{35E9C21A-0F46-CA44-AC6F-A6FF6F28CE03}"/>
          </ac:grpSpMkLst>
        </pc:grpChg>
        <pc:grpChg chg="mod">
          <ac:chgData name="Wilmes, Thorsten" userId="043015be-11ab-4970-bfd8-fcec05dafd14" providerId="ADAL" clId="{809162B7-0EF9-8B47-BDAA-45E5A34BFEDE}" dt="2024-02-22T12:37:52.689" v="6" actId="14100"/>
          <ac:grpSpMkLst>
            <pc:docMk/>
            <pc:sldMk cId="2491066175" sldId="356"/>
            <ac:grpSpMk id="12" creationId="{3FFABBF7-CA70-C942-A168-B1E480E80E12}"/>
          </ac:grpSpMkLst>
        </pc:grpChg>
        <pc:grpChg chg="mod">
          <ac:chgData name="Wilmes, Thorsten" userId="043015be-11ab-4970-bfd8-fcec05dafd14" providerId="ADAL" clId="{809162B7-0EF9-8B47-BDAA-45E5A34BFEDE}" dt="2024-02-22T12:37:59.460" v="8" actId="14100"/>
          <ac:grpSpMkLst>
            <pc:docMk/>
            <pc:sldMk cId="2491066175" sldId="356"/>
            <ac:grpSpMk id="13" creationId="{904198B9-BB90-BE41-B328-897BE0E4D8D2}"/>
          </ac:grpSpMkLst>
        </pc:grpChg>
        <pc:picChg chg="del">
          <ac:chgData name="Wilmes, Thorsten" userId="043015be-11ab-4970-bfd8-fcec05dafd14" providerId="ADAL" clId="{809162B7-0EF9-8B47-BDAA-45E5A34BFEDE}" dt="2024-02-22T12:37:55.638" v="7" actId="478"/>
          <ac:picMkLst>
            <pc:docMk/>
            <pc:sldMk cId="2491066175" sldId="356"/>
            <ac:picMk id="11" creationId="{E953C89C-AE65-4FEC-AF86-8388B79C8F0F}"/>
          </ac:picMkLst>
        </pc:picChg>
      </pc:sldChg>
    </pc:docChg>
  </pc:docChgLst>
  <pc:docChgLst>
    <pc:chgData name="Borsos, Melinda" userId="df8101e7-8697-4b87-a94e-6bd5e3cfad20" providerId="ADAL" clId="{A56154E1-081B-4E02-BB99-585959CE0AC5}"/>
    <pc:docChg chg="modSld sldOrd">
      <pc:chgData name="Borsos, Melinda" userId="df8101e7-8697-4b87-a94e-6bd5e3cfad20" providerId="ADAL" clId="{A56154E1-081B-4E02-BB99-585959CE0AC5}" dt="2024-02-16T15:14:50.910" v="1"/>
      <pc:docMkLst>
        <pc:docMk/>
      </pc:docMkLst>
      <pc:sldChg chg="ord">
        <pc:chgData name="Borsos, Melinda" userId="df8101e7-8697-4b87-a94e-6bd5e3cfad20" providerId="ADAL" clId="{A56154E1-081B-4E02-BB99-585959CE0AC5}" dt="2024-02-16T15:14:50.910" v="1"/>
        <pc:sldMkLst>
          <pc:docMk/>
          <pc:sldMk cId="2488269711" sldId="354"/>
        </pc:sldMkLst>
      </pc:sldChg>
    </pc:docChg>
  </pc:docChgLst>
  <pc:docChgLst>
    <pc:chgData name="Saudhof, Jonathan" userId="1de62455-fc29-43b1-9e70-016302bb9c75" providerId="ADAL" clId="{BE1DD462-6D7E-9D45-9810-435C60F4542B}"/>
    <pc:docChg chg="modSld">
      <pc:chgData name="Saudhof, Jonathan" userId="1de62455-fc29-43b1-9e70-016302bb9c75" providerId="ADAL" clId="{BE1DD462-6D7E-9D45-9810-435C60F4542B}" dt="2024-01-30T12:04:44.312" v="1" actId="14826"/>
      <pc:docMkLst>
        <pc:docMk/>
      </pc:docMkLst>
      <pc:sldChg chg="modSp">
        <pc:chgData name="Saudhof, Jonathan" userId="1de62455-fc29-43b1-9e70-016302bb9c75" providerId="ADAL" clId="{BE1DD462-6D7E-9D45-9810-435C60F4542B}" dt="2024-01-30T12:04:44.312" v="1" actId="14826"/>
        <pc:sldMkLst>
          <pc:docMk/>
          <pc:sldMk cId="3839176491" sldId="263"/>
        </pc:sldMkLst>
        <pc:picChg chg="mod">
          <ac:chgData name="Saudhof, Jonathan" userId="1de62455-fc29-43b1-9e70-016302bb9c75" providerId="ADAL" clId="{BE1DD462-6D7E-9D45-9810-435C60F4542B}" dt="2024-01-30T12:04:44.312" v="1" actId="14826"/>
          <ac:picMkLst>
            <pc:docMk/>
            <pc:sldMk cId="3839176491" sldId="263"/>
            <ac:picMk id="72" creationId="{E0F2F026-7F5A-4E6D-8389-96DE174FE857}"/>
          </ac:picMkLst>
        </pc:picChg>
      </pc:sldChg>
      <pc:sldChg chg="addSp delSp modSp">
        <pc:chgData name="Saudhof, Jonathan" userId="1de62455-fc29-43b1-9e70-016302bb9c75" providerId="ADAL" clId="{BE1DD462-6D7E-9D45-9810-435C60F4542B}" dt="2024-01-30T12:04:06.449" v="0" actId="931"/>
        <pc:sldMkLst>
          <pc:docMk/>
          <pc:sldMk cId="635101242" sldId="2076137166"/>
        </pc:sldMkLst>
        <pc:spChg chg="del">
          <ac:chgData name="Saudhof, Jonathan" userId="1de62455-fc29-43b1-9e70-016302bb9c75" providerId="ADAL" clId="{BE1DD462-6D7E-9D45-9810-435C60F4542B}" dt="2024-01-30T12:04:06.449" v="0" actId="931"/>
          <ac:spMkLst>
            <pc:docMk/>
            <pc:sldMk cId="635101242" sldId="2076137166"/>
            <ac:spMk id="6" creationId="{8EA1BAF4-4B89-072B-FF1A-0F00A1FDB8F2}"/>
          </ac:spMkLst>
        </pc:spChg>
        <pc:picChg chg="add mod">
          <ac:chgData name="Saudhof, Jonathan" userId="1de62455-fc29-43b1-9e70-016302bb9c75" providerId="ADAL" clId="{BE1DD462-6D7E-9D45-9810-435C60F4542B}" dt="2024-01-30T12:04:06.449" v="0" actId="931"/>
          <ac:picMkLst>
            <pc:docMk/>
            <pc:sldMk cId="635101242" sldId="2076137166"/>
            <ac:picMk id="5" creationId="{B2B96E4D-0157-D83D-D88A-40DA6D6A82FE}"/>
          </ac:picMkLst>
        </pc:picChg>
      </pc:sldChg>
    </pc:docChg>
  </pc:docChgLst>
  <pc:docChgLst>
    <pc:chgData name="Kräling, Sören" userId="3a431753-3b19-4fc1-9104-b8798ac2e01f" providerId="ADAL" clId="{3B5E7016-253B-40EE-BCA0-B2AD2491D97B}"/>
    <pc:docChg chg="sldOrd">
      <pc:chgData name="Kräling, Sören" userId="3a431753-3b19-4fc1-9104-b8798ac2e01f" providerId="ADAL" clId="{3B5E7016-253B-40EE-BCA0-B2AD2491D97B}" dt="2024-02-12T11:35:11.769" v="0" actId="20578"/>
      <pc:docMkLst>
        <pc:docMk/>
      </pc:docMkLst>
      <pc:sldChg chg="ord">
        <pc:chgData name="Kräling, Sören" userId="3a431753-3b19-4fc1-9104-b8798ac2e01f" providerId="ADAL" clId="{3B5E7016-253B-40EE-BCA0-B2AD2491D97B}" dt="2024-02-12T11:35:11.769" v="0" actId="20578"/>
        <pc:sldMkLst>
          <pc:docMk/>
          <pc:sldMk cId="304257319" sldId="2076137160"/>
        </pc:sldMkLst>
      </pc:sldChg>
    </pc:docChg>
  </pc:docChgLst>
  <pc:docChgLst>
    <pc:chgData name="Zerelli, Haydar" userId="S::haydar.zerelli@adesso.de::2a314c91-cfd2-45e4-a680-eccb8f31f322" providerId="AD" clId="Web-{CB683490-0D0D-48DD-A079-5617E659D862}"/>
    <pc:docChg chg="modSld">
      <pc:chgData name="Zerelli, Haydar" userId="S::haydar.zerelli@adesso.de::2a314c91-cfd2-45e4-a680-eccb8f31f322" providerId="AD" clId="Web-{CB683490-0D0D-48DD-A079-5617E659D862}" dt="2023-11-02T14:36:08.785" v="2"/>
      <pc:docMkLst>
        <pc:docMk/>
      </pc:docMkLst>
      <pc:sldChg chg="addSp delSp modSp mod modClrScheme chgLayout">
        <pc:chgData name="Zerelli, Haydar" userId="S::haydar.zerelli@adesso.de::2a314c91-cfd2-45e4-a680-eccb8f31f322" providerId="AD" clId="Web-{CB683490-0D0D-48DD-A079-5617E659D862}" dt="2023-11-02T14:36:08.785" v="2"/>
        <pc:sldMkLst>
          <pc:docMk/>
          <pc:sldMk cId="635101242" sldId="2076137166"/>
        </pc:sldMkLst>
        <pc:spChg chg="mod ord">
          <ac:chgData name="Zerelli, Haydar" userId="S::haydar.zerelli@adesso.de::2a314c91-cfd2-45e4-a680-eccb8f31f322" providerId="AD" clId="Web-{CB683490-0D0D-48DD-A079-5617E659D862}" dt="2023-10-31T18:50:10.141" v="0"/>
          <ac:spMkLst>
            <pc:docMk/>
            <pc:sldMk cId="635101242" sldId="2076137166"/>
            <ac:spMk id="2" creationId="{0CABCF18-A8BA-22CA-7A8D-0654A678B506}"/>
          </ac:spMkLst>
        </pc:spChg>
        <pc:spChg chg="mod ord">
          <ac:chgData name="Zerelli, Haydar" userId="S::haydar.zerelli@adesso.de::2a314c91-cfd2-45e4-a680-eccb8f31f322" providerId="AD" clId="Web-{CB683490-0D0D-48DD-A079-5617E659D862}" dt="2023-10-31T18:50:10.141" v="0"/>
          <ac:spMkLst>
            <pc:docMk/>
            <pc:sldMk cId="635101242" sldId="2076137166"/>
            <ac:spMk id="3" creationId="{8A3CFAE1-7D50-9309-D3B1-5AA5D0F21DD0}"/>
          </ac:spMkLst>
        </pc:spChg>
        <pc:spChg chg="del mod ord">
          <ac:chgData name="Zerelli, Haydar" userId="S::haydar.zerelli@adesso.de::2a314c91-cfd2-45e4-a680-eccb8f31f322" providerId="AD" clId="Web-{CB683490-0D0D-48DD-A079-5617E659D862}" dt="2023-11-02T14:36:08.785" v="2"/>
          <ac:spMkLst>
            <pc:docMk/>
            <pc:sldMk cId="635101242" sldId="2076137166"/>
            <ac:spMk id="4" creationId="{F3D306A5-A3EF-EEA5-970B-4428E1266926}"/>
          </ac:spMkLst>
        </pc:spChg>
        <pc:spChg chg="del">
          <ac:chgData name="Zerelli, Haydar" userId="S::haydar.zerelli@adesso.de::2a314c91-cfd2-45e4-a680-eccb8f31f322" providerId="AD" clId="Web-{CB683490-0D0D-48DD-A079-5617E659D862}" dt="2023-10-31T18:50:10.141" v="0"/>
          <ac:spMkLst>
            <pc:docMk/>
            <pc:sldMk cId="635101242" sldId="2076137166"/>
            <ac:spMk id="5" creationId="{6846FC25-0D8B-D21E-9E8A-25097D726B85}"/>
          </ac:spMkLst>
        </pc:spChg>
        <pc:spChg chg="add mod ord">
          <ac:chgData name="Zerelli, Haydar" userId="S::haydar.zerelli@adesso.de::2a314c91-cfd2-45e4-a680-eccb8f31f322" providerId="AD" clId="Web-{CB683490-0D0D-48DD-A079-5617E659D862}" dt="2023-10-31T18:50:10.141" v="0"/>
          <ac:spMkLst>
            <pc:docMk/>
            <pc:sldMk cId="635101242" sldId="2076137166"/>
            <ac:spMk id="6" creationId="{8EA1BAF4-4B89-072B-FF1A-0F00A1FDB8F2}"/>
          </ac:spMkLst>
        </pc:spChg>
        <pc:spChg chg="add mod">
          <ac:chgData name="Zerelli, Haydar" userId="S::haydar.zerelli@adesso.de::2a314c91-cfd2-45e4-a680-eccb8f31f322" providerId="AD" clId="Web-{CB683490-0D0D-48DD-A079-5617E659D862}" dt="2023-11-02T14:36:08.785" v="2"/>
          <ac:spMkLst>
            <pc:docMk/>
            <pc:sldMk cId="635101242" sldId="2076137166"/>
            <ac:spMk id="7" creationId="{9D9BBEAA-F455-1B60-4290-6F8B2B25AD4B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AB33599C-5299-466F-ABD6-F73B2C70A8D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310AA39-F8E0-437F-A1D1-2216A3149D2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656EE87-B697-457C-9A42-C3539DD63255}" type="datetimeFigureOut">
              <a:rPr lang="de-DE" smtClean="0"/>
              <a:t>04.03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E999F86-6EC8-44A9-AD2D-4A8465F95B8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4EB5007-36E9-44FC-ACE9-C79A986A006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098931-AAE7-4640-BCB7-B4F073CA81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81725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F0E7FB0-F2CB-4390-B51F-8FA22CF0389F}" type="datetimeFigureOut">
              <a:rPr lang="de-DE" smtClean="0"/>
              <a:t>04.03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2768BF4-7430-4995-A949-EB4F50B9A8B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66746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7800" indent="-177800" algn="l" defTabSz="914400" rtl="0" eaLnBrk="1" latinLnBrk="0" hangingPunct="1">
      <a:buClr>
        <a:schemeClr val="accent1"/>
      </a:buClr>
      <a:buFont typeface="Arial" panose="020B0604020202020204" pitchFamily="34" charset="0"/>
      <a:buChar char="&gt;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61950" indent="-184150" algn="l" defTabSz="914400" rtl="0" eaLnBrk="1" latinLnBrk="0" hangingPunct="1">
      <a:buClr>
        <a:schemeClr val="accent1"/>
      </a:buClr>
      <a:buFont typeface="Arial" panose="020B0604020202020204" pitchFamily="34" charset="0"/>
      <a:buChar char="&gt;"/>
      <a:tabLst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39750" indent="-177800" algn="l" defTabSz="914400" rtl="0" eaLnBrk="1" latinLnBrk="0" hangingPunct="1">
      <a:buClr>
        <a:schemeClr val="accent1"/>
      </a:buClr>
      <a:buFont typeface="Arial" panose="020B0604020202020204" pitchFamily="34" charset="0"/>
      <a:buChar char="&gt;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7550" indent="-177800" algn="l" defTabSz="914400" rtl="0" eaLnBrk="1" latinLnBrk="0" hangingPunct="1">
      <a:buClr>
        <a:schemeClr val="accent1"/>
      </a:buClr>
      <a:buFont typeface="Arial" panose="020B0604020202020204" pitchFamily="34" charset="0"/>
      <a:buChar char="&gt;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5350" indent="-177800" algn="l" defTabSz="914400" rtl="0" eaLnBrk="1" latinLnBrk="0" hangingPunct="1">
      <a:buClr>
        <a:schemeClr val="accent1"/>
      </a:buClr>
      <a:buFont typeface="Arial" panose="020B0604020202020204" pitchFamily="34" charset="0"/>
      <a:buChar char="&gt;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768BF4-7430-4995-A949-EB4F50B9A8B5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73562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oleObject" Target="../embeddings/oleObject9.bin"/><Relationship Id="rId7" Type="http://schemas.openxmlformats.org/officeDocument/2006/relationships/image" Target="../media/image1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1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1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20.jpeg"/><Relationship Id="rId7" Type="http://schemas.openxmlformats.org/officeDocument/2006/relationships/image" Target="../media/image22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Relationship Id="rId9" Type="http://schemas.openxmlformats.org/officeDocument/2006/relationships/image" Target="../media/image15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20.jpeg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Relationship Id="rId9" Type="http://schemas.openxmlformats.org/officeDocument/2006/relationships/image" Target="../media/image22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20.jpeg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Relationship Id="rId9" Type="http://schemas.openxmlformats.org/officeDocument/2006/relationships/image" Target="../media/image22.sv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oleObject" Target="../embeddings/oleObject3.bin"/><Relationship Id="rId7" Type="http://schemas.openxmlformats.org/officeDocument/2006/relationships/image" Target="../media/image1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10" Type="http://schemas.openxmlformats.org/officeDocument/2006/relationships/image" Target="../media/image15.svg"/><Relationship Id="rId4" Type="http://schemas.openxmlformats.org/officeDocument/2006/relationships/image" Target="../media/image1.emf"/><Relationship Id="rId9" Type="http://schemas.openxmlformats.org/officeDocument/2006/relationships/image" Target="../media/image14.png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24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oleObject" Target="../embeddings/oleObject5.bin"/><Relationship Id="rId7" Type="http://schemas.openxmlformats.org/officeDocument/2006/relationships/image" Target="../media/image1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10" Type="http://schemas.openxmlformats.org/officeDocument/2006/relationships/image" Target="../media/image13.svg"/><Relationship Id="rId4" Type="http://schemas.openxmlformats.org/officeDocument/2006/relationships/image" Target="../media/image1.emf"/><Relationship Id="rId9" Type="http://schemas.openxmlformats.org/officeDocument/2006/relationships/image" Target="../media/image12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oleObject" Target="../embeddings/oleObject7.bin"/><Relationship Id="rId7" Type="http://schemas.openxmlformats.org/officeDocument/2006/relationships/image" Target="../media/image1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10" Type="http://schemas.openxmlformats.org/officeDocument/2006/relationships/image" Target="../media/image13.svg"/><Relationship Id="rId4" Type="http://schemas.openxmlformats.org/officeDocument/2006/relationships/image" Target="../media/image1.emf"/><Relationship Id="rId9" Type="http://schemas.openxmlformats.org/officeDocument/2006/relationships/image" Target="../media/image1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675B90DA-0A2D-415B-AE49-06416E0D276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332000"/>
            <a:ext cx="11520488" cy="4968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en-US"/>
              <a:t>Please insert picture</a:t>
            </a:r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0B2065D8-847E-4E5F-958D-9E6FE8280EE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612000" y="972000"/>
            <a:ext cx="828000" cy="180000"/>
          </a:xfrm>
        </p:spPr>
        <p:txBody>
          <a:bodyPr/>
          <a:lstStyle>
            <a:lvl1pPr algn="l">
              <a:defRPr sz="1200" b="0"/>
            </a:lvl1pPr>
          </a:lstStyle>
          <a:p>
            <a:r>
              <a:rPr lang="en-US"/>
              <a:t>01.05.2022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05298599-5638-4824-8D82-747AFE33DA7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76000" y="971551"/>
            <a:ext cx="5508000" cy="180000"/>
          </a:xfrm>
          <a:prstGeom prst="rect">
            <a:avLst/>
          </a:prstGeom>
        </p:spPr>
        <p:txBody>
          <a:bodyPr/>
          <a:lstStyle>
            <a:lvl1pPr marL="144000" indent="-144000">
              <a:lnSpc>
                <a:spcPct val="100000"/>
              </a:lnSpc>
              <a:buClr>
                <a:schemeClr val="accent1"/>
              </a:buClr>
              <a:buFont typeface="Open Sans" panose="020B0606030504020204" pitchFamily="34" charset="0"/>
              <a:buChar char="|"/>
              <a:defRPr lang="de-DE" sz="1200" b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4E8F24C-C5FD-4205-9721-E6D609178114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6300000"/>
            <a:ext cx="11520000" cy="180000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C372C637-8EE0-40C4-BA80-59812385EBB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486000" y="288000"/>
            <a:ext cx="1866900" cy="742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91169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DE26881-6E9D-4013-A41B-3E13B7DBB8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0625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DE26881-6E9D-4013-A41B-3E13B7DBB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D23828A-2D1F-45B9-A821-9A82235532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1.05.2022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E2C9E65-9DB8-4338-81DC-37214567F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desso_PPT_Libary_2022_05_01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CAAA6C5-3E55-4209-94E8-5221649BF8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4C2E48F-818D-4284-802E-0B83AB7AA7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338089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DARK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908D40D-F586-4CD0-8792-32B1E255ED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767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F908D40D-F586-4CD0-8792-32B1E255ED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>
            <a:extLst>
              <a:ext uri="{FF2B5EF4-FFF2-40B4-BE49-F238E27FC236}">
                <a16:creationId xmlns:a16="http://schemas.microsoft.com/office/drawing/2014/main" id="{10515667-7470-40B6-A0E6-9E11C6BF9AA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223712" y="1587"/>
            <a:ext cx="8315325" cy="647700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5E0CB7F6-8104-4507-BBE6-1029A34A08A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836000" y="431800"/>
            <a:ext cx="266700" cy="504825"/>
          </a:xfrm>
          <a:prstGeom prst="rect">
            <a:avLst/>
          </a:prstGeom>
        </p:spPr>
      </p:pic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D23828A-2D1F-45B9-A821-9A82235532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01.05.2022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E2C9E65-9DB8-4338-81DC-37214567F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desso_PPT_Libary_2022_05_01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CAAA6C5-3E55-4209-94E8-5221649BF8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91AABAC3-25E9-4FD5-A979-0D9205BDA2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587150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88C2075-EA8F-450A-B4A7-B411F25ADE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1.05.2022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0115B40-B74D-4C18-93A2-27473B7170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desso_PPT_Libary_2022_05_01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41416BF-6863-4175-9D9B-0A98C332D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01363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aim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1AAD735-68C7-4830-8543-B4338493F3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0614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1AAD735-68C7-4830-8543-B4338493F3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D23828A-2D1F-45B9-A821-9A82235532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1.05.2022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E2C9E65-9DB8-4338-81DC-37214567F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desso_PPT_Libary_2022_05_01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CAAA6C5-3E55-4209-94E8-5221649BF8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9FDF44F-8C22-40FA-B750-DD433501A4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80000" y="1800225"/>
            <a:ext cx="7560000" cy="4176713"/>
          </a:xfrm>
        </p:spPr>
        <p:txBody>
          <a:bodyPr/>
          <a:lstStyle>
            <a:lvl1pPr>
              <a:lnSpc>
                <a:spcPts val="3200"/>
              </a:lnSpc>
              <a:defRPr sz="2400" b="0">
                <a:solidFill>
                  <a:schemeClr val="accent5"/>
                </a:solidFill>
              </a:defRPr>
            </a:lvl1pPr>
            <a:lvl2pPr marL="0" indent="0">
              <a:lnSpc>
                <a:spcPts val="3200"/>
              </a:lnSpc>
              <a:buNone/>
              <a:defRPr sz="2400" b="1">
                <a:solidFill>
                  <a:schemeClr val="accent5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6A6BF131-093D-435C-9BED-223DF45649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983896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aim DARK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DE6080A-27AC-4D83-A570-992F95EEFD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9683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DE6080A-27AC-4D83-A570-992F95EEFD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>
            <a:extLst>
              <a:ext uri="{FF2B5EF4-FFF2-40B4-BE49-F238E27FC236}">
                <a16:creationId xmlns:a16="http://schemas.microsoft.com/office/drawing/2014/main" id="{CBD1DDF1-BF01-452B-BE43-190ED3282E2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223712" y="1587"/>
            <a:ext cx="8315325" cy="647700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F40D1E7E-7411-4AFD-B6D1-14319F565AB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836000" y="431800"/>
            <a:ext cx="266700" cy="504825"/>
          </a:xfrm>
          <a:prstGeom prst="rect">
            <a:avLst/>
          </a:prstGeom>
        </p:spPr>
      </p:pic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D23828A-2D1F-45B9-A821-9A82235532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01.05.2022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E2C9E65-9DB8-4338-81DC-37214567F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desso_PPT_Libary_2022_05_01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CAAA6C5-3E55-4209-94E8-5221649BF8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9FDF44F-8C22-40FA-B750-DD433501A4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80000" y="1800225"/>
            <a:ext cx="7560000" cy="4176713"/>
          </a:xfrm>
        </p:spPr>
        <p:txBody>
          <a:bodyPr/>
          <a:lstStyle>
            <a:lvl1pPr>
              <a:lnSpc>
                <a:spcPts val="3200"/>
              </a:lnSpc>
              <a:defRPr sz="2400" b="0">
                <a:solidFill>
                  <a:schemeClr val="bg1"/>
                </a:solidFill>
              </a:defRPr>
            </a:lvl1pPr>
            <a:lvl2pPr marL="0" indent="0">
              <a:lnSpc>
                <a:spcPts val="3200"/>
              </a:lnSpc>
              <a:buNone/>
              <a:defRPr sz="24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112A4851-5ABB-4547-91F1-5CE8A8EDE3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638484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w/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ABB98FA-9B78-4277-801D-DFCD996E0C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2323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ABB98FA-9B78-4277-801D-DFCD996E0C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D870560-21E5-43EA-A374-AD42A8C4252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1520488" cy="6480175"/>
          </a:xfrm>
          <a:solidFill>
            <a:schemeClr val="bg2"/>
          </a:solidFill>
        </p:spPr>
        <p:txBody>
          <a:bodyPr/>
          <a:lstStyle/>
          <a:p>
            <a:pPr marL="0" marR="0" lvl="0" indent="0" algn="l" defTabSz="864017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lease insert picture</a:t>
            </a:r>
          </a:p>
          <a:p>
            <a:endParaRPr lang="en-US"/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D1DDE135-087D-48D1-87D8-7119F994434D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10836300" y="431800"/>
            <a:ext cx="266400" cy="504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2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D23828A-2D1F-45B9-A821-9A82235532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01.05.2022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E2C9E65-9DB8-4338-81DC-37214567F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desso_PPT_Libary_2022_05_01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CAAA6C5-3E55-4209-94E8-5221649BF8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9FDF44F-8C22-40FA-B750-DD433501A4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1223864"/>
            <a:ext cx="3096000" cy="4753074"/>
          </a:xfrm>
        </p:spPr>
        <p:txBody>
          <a:bodyPr/>
          <a:lstStyle>
            <a:lvl1pPr>
              <a:lnSpc>
                <a:spcPts val="2300"/>
              </a:lnSpc>
              <a:defRPr sz="1800" b="0">
                <a:solidFill>
                  <a:schemeClr val="accent1"/>
                </a:solidFill>
                <a:latin typeface="+mj-lt"/>
              </a:defRPr>
            </a:lvl1pPr>
            <a:lvl2pPr marL="342900" indent="-342900">
              <a:spcBef>
                <a:spcPts val="600"/>
              </a:spcBef>
              <a:buFontTx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  <a:defRPr sz="3100">
                <a:solidFill>
                  <a:schemeClr val="tx1">
                    <a:alpha val="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Ebene2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0CBC1202-57F9-4F31-B00F-7075629837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796163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675B90DA-0A2D-415B-AE49-06416E0D276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332000"/>
            <a:ext cx="11520488" cy="4968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en-US"/>
              <a:t>Please insert picture</a:t>
            </a:r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0B2065D8-847E-4E5F-958D-9E6FE8280EE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612000" y="972000"/>
            <a:ext cx="828000" cy="180000"/>
          </a:xfrm>
        </p:spPr>
        <p:txBody>
          <a:bodyPr/>
          <a:lstStyle>
            <a:lvl1pPr algn="l">
              <a:defRPr sz="1200" b="0"/>
            </a:lvl1pPr>
          </a:lstStyle>
          <a:p>
            <a:r>
              <a:rPr lang="en-US"/>
              <a:t>01.05.2022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05298599-5638-4824-8D82-747AFE33DA7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76000" y="971551"/>
            <a:ext cx="5508000" cy="180000"/>
          </a:xfrm>
          <a:prstGeom prst="rect">
            <a:avLst/>
          </a:prstGeom>
        </p:spPr>
        <p:txBody>
          <a:bodyPr/>
          <a:lstStyle>
            <a:lvl1pPr marL="144000" indent="-144000">
              <a:lnSpc>
                <a:spcPct val="100000"/>
              </a:lnSpc>
              <a:buClr>
                <a:schemeClr val="accent1"/>
              </a:buClr>
              <a:buFont typeface="Open Sans" panose="020B0606030504020204" pitchFamily="34" charset="0"/>
              <a:buChar char="|"/>
              <a:defRPr lang="de-DE" sz="1200" b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4E8F24C-C5FD-4205-9721-E6D609178114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6300000"/>
            <a:ext cx="11520000" cy="180000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C372C637-8EE0-40C4-BA80-59812385EBB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486000" y="288000"/>
            <a:ext cx="1866900" cy="742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73011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FCECA0E-61E3-49AD-BF2A-F935851723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09297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FCECA0E-61E3-49AD-BF2A-F935851723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54713CB-AA68-4ADF-808A-3967EF18C1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1.05.2022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555F28B-BDBF-413E-9727-643E5A1DDE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desso_PPT_Libary_2022_05_01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71D7498-E557-403D-BF95-106392436B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FB614838-8B06-4CFE-ABF1-BE7BB32DD06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1800" y="1800224"/>
            <a:ext cx="10656888" cy="4176714"/>
          </a:xfrm>
        </p:spPr>
        <p:txBody>
          <a:bodyPr/>
          <a:lstStyle>
            <a:lvl1pPr marL="285750" indent="-285750">
              <a:buFontTx/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  <a:defRPr/>
            </a:lvl1pPr>
            <a:lvl2pPr marL="252000" indent="-252000">
              <a:buFontTx/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  <a:tabLst/>
              <a:defRPr/>
            </a:lvl2pPr>
            <a:lvl3pPr marL="432000" indent="-180000">
              <a:buFontTx/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  <a:defRPr/>
            </a:lvl3pPr>
            <a:lvl4pPr marL="285750" indent="-285750">
              <a:buFontTx/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  <a:defRPr/>
            </a:lvl4pPr>
            <a:lvl5pPr marL="171450" indent="-171450">
              <a:buFontTx/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5A189B6-EE6C-42FE-907F-6334716044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 wrap="none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2096556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DARK">
    <p:bg>
      <p:bgPr>
        <a:blipFill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90C6F88-25A2-4779-BE60-14363614E3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01306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90C6F88-25A2-4779-BE60-14363614E3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54713CB-AA68-4ADF-808A-3967EF18C1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01.05.2022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555F28B-BDBF-413E-9727-643E5A1DDE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adesso_PPT_Libary_2022_05_01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71D7498-E557-403D-BF95-106392436B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FB614838-8B06-4CFE-ABF1-BE7BB32DD06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1800" y="1800224"/>
            <a:ext cx="10656888" cy="4176714"/>
          </a:xfrm>
        </p:spPr>
        <p:txBody>
          <a:bodyPr/>
          <a:lstStyle>
            <a:lvl1pPr marL="285750" indent="-28575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>
                <a:solidFill>
                  <a:schemeClr val="tx1"/>
                </a:solidFill>
              </a:defRPr>
            </a:lvl1pPr>
            <a:lvl2pPr marL="252000" indent="-2520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>
                <a:solidFill>
                  <a:schemeClr val="tx1"/>
                </a:solidFill>
              </a:defRPr>
            </a:lvl2pPr>
            <a:lvl3pPr marL="432000" indent="-1800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>
                <a:solidFill>
                  <a:schemeClr val="tx1"/>
                </a:solidFill>
              </a:defRPr>
            </a:lvl3pPr>
            <a:lvl4pPr marL="285750" indent="-28575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>
                <a:solidFill>
                  <a:schemeClr val="tx1"/>
                </a:solidFill>
              </a:defRPr>
            </a:lvl4pPr>
            <a:lvl5pPr marL="171450" indent="-17145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>
                <a:solidFill>
                  <a:schemeClr val="tx1"/>
                </a:solidFill>
              </a:defRPr>
            </a:lvl5pPr>
            <a:lvl6pPr marL="457200" indent="-4572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>
                <a:solidFill>
                  <a:schemeClr val="tx1"/>
                </a:solidFill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FF4DCAE7-9151-42E9-A92A-B7811399A86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836000" y="431800"/>
            <a:ext cx="266700" cy="504825"/>
          </a:xfrm>
          <a:prstGeom prst="rect">
            <a:avLst/>
          </a:prstGeo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C89502B5-BDA9-4F39-8160-24B865EF57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solidFill>
            <a:schemeClr val="tx1"/>
          </a:solidFill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226858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4D93EF8A-C553-456A-8855-BC2209C595E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-1"/>
            <a:ext cx="11520488" cy="6300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en-US"/>
              <a:t>Please insert picture</a:t>
            </a:r>
          </a:p>
        </p:txBody>
      </p:sp>
      <p:sp>
        <p:nvSpPr>
          <p:cNvPr id="8" name="Bildplatzhalter 11">
            <a:extLst>
              <a:ext uri="{FF2B5EF4-FFF2-40B4-BE49-F238E27FC236}">
                <a16:creationId xmlns:a16="http://schemas.microsoft.com/office/drawing/2014/main" id="{7FD4C7DD-03C4-45C3-92A7-10D074AE8314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10836300" y="431800"/>
            <a:ext cx="266400" cy="504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2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01C0CB2-159F-4441-8A67-F8B6FC1DFD0B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0" y="6300000"/>
            <a:ext cx="1152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85705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FCECA0E-61E3-49AD-BF2A-F935851723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09297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FCECA0E-61E3-49AD-BF2A-F935851723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54713CB-AA68-4ADF-808A-3967EF18C1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1.05.2022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555F28B-BDBF-413E-9727-643E5A1DDE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desso_PPT_Libary_2022_05_01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71D7498-E557-403D-BF95-106392436B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FB614838-8B06-4CFE-ABF1-BE7BB32DD06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1800" y="1800224"/>
            <a:ext cx="10656888" cy="4176714"/>
          </a:xfrm>
        </p:spPr>
        <p:txBody>
          <a:bodyPr/>
          <a:lstStyle>
            <a:lvl2pPr marL="252000" indent="-252000">
              <a:buFont typeface="Arial" panose="020B0604020202020204" pitchFamily="34" charset="0"/>
              <a:buChar char="&gt;"/>
              <a:tabLst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5A189B6-EE6C-42FE-907F-6334716044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 wrap="none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877162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imonia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4D93EF8A-C553-456A-8855-BC2209C595E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-1"/>
            <a:ext cx="11520488" cy="6480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864017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lease insert picture</a:t>
            </a:r>
          </a:p>
          <a:p>
            <a:endParaRPr lang="en-US"/>
          </a:p>
        </p:txBody>
      </p:sp>
      <p:sp>
        <p:nvSpPr>
          <p:cNvPr id="8" name="Bildplatzhalter 11">
            <a:extLst>
              <a:ext uri="{FF2B5EF4-FFF2-40B4-BE49-F238E27FC236}">
                <a16:creationId xmlns:a16="http://schemas.microsoft.com/office/drawing/2014/main" id="{7FD4C7DD-03C4-45C3-92A7-10D074AE8314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10836300" y="431800"/>
            <a:ext cx="266400" cy="504000"/>
          </a:xfrm>
          <a:prstGeom prst="rect">
            <a:avLst/>
          </a:pr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2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50EB05E-444A-4883-A917-D336219F63E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01.05.2022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E9BDD1E-55C6-46D6-A0C9-A9E0E7BA87C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adesso_PPT_Libary_2022_05_01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8A491EE-5570-4717-970C-05CAF86F221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27383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F8B6C6F-BD2C-4E55-AB78-1E63310AE5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712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F8B6C6F-BD2C-4E55-AB78-1E63310AE5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8A6650AC-28E1-4DD3-BE53-8F41339810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1.05.2022</a:t>
            </a: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B40FC3A8-5A84-4805-8669-A4FD5B88C4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desso_PPT_Libary_2022_05_01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FFE3EA8E-4B59-4444-9883-E7B8A4374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E70650A6-A24B-498D-9EFD-E657A8C8685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1800" y="1800225"/>
            <a:ext cx="5256213" cy="41767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Inhaltsplatzhalter 11">
            <a:extLst>
              <a:ext uri="{FF2B5EF4-FFF2-40B4-BE49-F238E27FC236}">
                <a16:creationId xmlns:a16="http://schemas.microsoft.com/office/drawing/2014/main" id="{11984634-E143-4B7F-A5F6-A2B3CAA9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834476" y="1798544"/>
            <a:ext cx="5256213" cy="41767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EC569744-C8ED-4779-AC80-DA1B98385F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8114329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DARK">
    <p:bg>
      <p:bgPr>
        <a:blipFill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7D9BBC2-7310-4903-940B-90690B2985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8204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7D9BBC2-7310-4903-940B-90690B2985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fik 13">
            <a:extLst>
              <a:ext uri="{FF2B5EF4-FFF2-40B4-BE49-F238E27FC236}">
                <a16:creationId xmlns:a16="http://schemas.microsoft.com/office/drawing/2014/main" id="{D9971FA2-30EF-43C5-8436-38D2FA44D3C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836000" y="431800"/>
            <a:ext cx="266700" cy="504825"/>
          </a:xfrm>
          <a:prstGeom prst="rect">
            <a:avLst/>
          </a:prstGeom>
        </p:spPr>
      </p:pic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8A6650AC-28E1-4DD3-BE53-8F41339810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01.05.2022</a:t>
            </a: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B40FC3A8-5A84-4805-8669-A4FD5B88C4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desso_PPT_Libary_2022_05_01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FFE3EA8E-4B59-4444-9883-E7B8A4374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E70650A6-A24B-498D-9EFD-E657A8C8685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1800" y="1800225"/>
            <a:ext cx="5256213" cy="4176713"/>
          </a:xfrm>
        </p:spPr>
        <p:txBody>
          <a:bodyPr/>
          <a:lstStyle>
            <a:lvl1pPr marL="285750" indent="-285750">
              <a:buFontTx/>
              <a:buBlip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</a:buBlip>
              <a:defRPr>
                <a:solidFill>
                  <a:schemeClr val="tx1"/>
                </a:solidFill>
              </a:defRPr>
            </a:lvl1pPr>
            <a:lvl2pPr marL="252000" indent="-252000">
              <a:buFontTx/>
              <a:buBlip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</a:buBlip>
              <a:defRPr>
                <a:solidFill>
                  <a:schemeClr val="tx1"/>
                </a:solidFill>
              </a:defRPr>
            </a:lvl2pPr>
            <a:lvl3pPr marL="432000" indent="-180000">
              <a:buFontTx/>
              <a:buBlip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</a:buBlip>
              <a:defRPr>
                <a:solidFill>
                  <a:schemeClr val="tx1"/>
                </a:solidFill>
              </a:defRPr>
            </a:lvl3pPr>
            <a:lvl4pPr marL="285750" indent="-285750">
              <a:buFontTx/>
              <a:buBlip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</a:buBlip>
              <a:defRPr>
                <a:solidFill>
                  <a:schemeClr val="tx1"/>
                </a:solidFill>
              </a:defRPr>
            </a:lvl4pPr>
            <a:lvl5pPr marL="171450" indent="-171450">
              <a:buFontTx/>
              <a:buBlip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</a:buBlip>
              <a:defRPr>
                <a:solidFill>
                  <a:schemeClr val="tx1"/>
                </a:solidFill>
              </a:defRPr>
            </a:lvl5pPr>
            <a:lvl6pPr marL="457200" indent="-457200">
              <a:buFontTx/>
              <a:buBlip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</a:buBlip>
              <a:defRPr>
                <a:solidFill>
                  <a:schemeClr val="tx1"/>
                </a:solidFill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13" name="Inhaltsplatzhalter 11">
            <a:extLst>
              <a:ext uri="{FF2B5EF4-FFF2-40B4-BE49-F238E27FC236}">
                <a16:creationId xmlns:a16="http://schemas.microsoft.com/office/drawing/2014/main" id="{11984634-E143-4B7F-A5F6-A2B3CAA9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834476" y="1798544"/>
            <a:ext cx="5256213" cy="4176713"/>
          </a:xfrm>
        </p:spPr>
        <p:txBody>
          <a:bodyPr/>
          <a:lstStyle>
            <a:lvl1pPr marL="285750" indent="-285750">
              <a:buFontTx/>
              <a:buBlip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</a:buBlip>
              <a:defRPr>
                <a:solidFill>
                  <a:schemeClr val="tx1"/>
                </a:solidFill>
              </a:defRPr>
            </a:lvl1pPr>
            <a:lvl2pPr marL="252000" indent="-252000">
              <a:buFontTx/>
              <a:buBlip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</a:buBlip>
              <a:defRPr>
                <a:solidFill>
                  <a:schemeClr val="tx1"/>
                </a:solidFill>
              </a:defRPr>
            </a:lvl2pPr>
            <a:lvl3pPr marL="432000" indent="-180000">
              <a:buFontTx/>
              <a:buBlip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</a:buBlip>
              <a:defRPr>
                <a:solidFill>
                  <a:schemeClr val="tx1"/>
                </a:solidFill>
              </a:defRPr>
            </a:lvl3pPr>
            <a:lvl4pPr marL="285750" indent="-285750">
              <a:buFontTx/>
              <a:buBlip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</a:buBlip>
              <a:defRPr>
                <a:solidFill>
                  <a:schemeClr val="tx1"/>
                </a:solidFill>
              </a:defRPr>
            </a:lvl4pPr>
            <a:lvl5pPr marL="171450" indent="-171450">
              <a:buFontTx/>
              <a:buBlip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</a:buBlip>
              <a:defRPr>
                <a:solidFill>
                  <a:schemeClr val="tx1"/>
                </a:solidFill>
              </a:defRPr>
            </a:lvl5pPr>
            <a:lvl6pPr marL="457200" indent="-457200">
              <a:buFontTx/>
              <a:buBlip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</a:buBlip>
              <a:defRPr>
                <a:solidFill>
                  <a:schemeClr val="tx1"/>
                </a:solidFill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DCAB2934-C1F1-4C84-8F44-C2C2C2A06F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solidFill>
            <a:schemeClr val="tx1"/>
          </a:solidFill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506419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Blank righ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9BAEFD2-0EB7-47F4-8C01-9A831DB98F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60063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9BAEFD2-0EB7-47F4-8C01-9A831DB98F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8A6650AC-28E1-4DD3-BE53-8F41339810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1.05.2022</a:t>
            </a: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B40FC3A8-5A84-4805-8669-A4FD5B88C4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desso_PPT_Libary_2022_05_01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FFE3EA8E-4B59-4444-9883-E7B8A4374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E70650A6-A24B-498D-9EFD-E657A8C8685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1800" y="1800225"/>
            <a:ext cx="5256213" cy="41767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E1D7390F-3EB9-4359-AEBA-12555B6185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6864731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Blank right DARK">
    <p:bg>
      <p:bgPr>
        <a:blipFill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C204245-BF56-40B8-9CE1-94AA0C033D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6547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FC204245-BF56-40B8-9CE1-94AA0C033D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B01F2409-D2A1-4542-BC70-C7CD6CB1ED1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836000" y="431800"/>
            <a:ext cx="266700" cy="504825"/>
          </a:xfrm>
          <a:prstGeom prst="rect">
            <a:avLst/>
          </a:prstGeom>
        </p:spPr>
      </p:pic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8A6650AC-28E1-4DD3-BE53-8F41339810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01.05.2022</a:t>
            </a: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B40FC3A8-5A84-4805-8669-A4FD5B88C4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desso_PPT_Libary_2022_05_01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FFE3EA8E-4B59-4444-9883-E7B8A4374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E70650A6-A24B-498D-9EFD-E657A8C8685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1800" y="1800225"/>
            <a:ext cx="5256213" cy="4176713"/>
          </a:xfrm>
        </p:spPr>
        <p:txBody>
          <a:bodyPr/>
          <a:lstStyle>
            <a:lvl1pPr marL="285750" indent="-285750">
              <a:buFontTx/>
              <a:buBlip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1pPr>
            <a:lvl2pPr marL="252000" indent="-252000">
              <a:buFontTx/>
              <a:buBlip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2pPr>
            <a:lvl3pPr marL="432000" indent="-180000">
              <a:buFontTx/>
              <a:buBlip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285750" indent="-285750">
              <a:buFontTx/>
              <a:buBlip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4pPr>
            <a:lvl5pPr marL="171450" indent="-171450">
              <a:buFontTx/>
              <a:buBlip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5pPr>
            <a:lvl6pPr marL="457200" indent="-457200">
              <a:buFontTx/>
              <a:buBlip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2651F15-C668-4A10-A0A3-FAF165CE57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solidFill>
            <a:schemeClr val="bg1"/>
          </a:solidFill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0052268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DE26881-6E9D-4013-A41B-3E13B7DBB8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0625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DE26881-6E9D-4013-A41B-3E13B7DBB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D23828A-2D1F-45B9-A821-9A82235532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1.05.2022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E2C9E65-9DB8-4338-81DC-37214567F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desso_PPT_Libary_2022_05_01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CAAA6C5-3E55-4209-94E8-5221649BF8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4C2E48F-818D-4284-802E-0B83AB7AA7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6005681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DARK">
    <p:bg>
      <p:bgPr>
        <a:blipFill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908D40D-F586-4CD0-8792-32B1E255ED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767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F908D40D-F586-4CD0-8792-32B1E255ED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>
            <a:extLst>
              <a:ext uri="{FF2B5EF4-FFF2-40B4-BE49-F238E27FC236}">
                <a16:creationId xmlns:a16="http://schemas.microsoft.com/office/drawing/2014/main" id="{5E0CB7F6-8104-4507-BBE6-1029A34A08A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836000" y="431800"/>
            <a:ext cx="266700" cy="504825"/>
          </a:xfrm>
          <a:prstGeom prst="rect">
            <a:avLst/>
          </a:prstGeom>
        </p:spPr>
      </p:pic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D23828A-2D1F-45B9-A821-9A82235532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01.05.2022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E2C9E65-9DB8-4338-81DC-37214567F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desso_PPT_Libary_2022_05_01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CAAA6C5-3E55-4209-94E8-5221649BF8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91AABAC3-25E9-4FD5-A979-0D9205BDA2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solidFill>
            <a:schemeClr val="tx1"/>
          </a:solidFill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735116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88C2075-EA8F-450A-B4A7-B411F25ADE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1.05.2022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0115B40-B74D-4C18-93A2-27473B7170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desso_PPT_Libary_2022_05_01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41416BF-6863-4175-9D9B-0A98C332D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452589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aim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1AAD735-68C7-4830-8543-B4338493F3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0614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1AAD735-68C7-4830-8543-B4338493F3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D23828A-2D1F-45B9-A821-9A82235532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1.05.2022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E2C9E65-9DB8-4338-81DC-37214567F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desso_PPT_Libary_2022_05_01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CAAA6C5-3E55-4209-94E8-5221649BF8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9FDF44F-8C22-40FA-B750-DD433501A4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80000" y="1800225"/>
            <a:ext cx="7560000" cy="4176713"/>
          </a:xfrm>
        </p:spPr>
        <p:txBody>
          <a:bodyPr/>
          <a:lstStyle>
            <a:lvl1pPr>
              <a:lnSpc>
                <a:spcPts val="3200"/>
              </a:lnSpc>
              <a:defRPr sz="2400" b="0">
                <a:solidFill>
                  <a:schemeClr val="accent5"/>
                </a:solidFill>
              </a:defRPr>
            </a:lvl1pPr>
            <a:lvl2pPr marL="0" indent="0">
              <a:lnSpc>
                <a:spcPts val="3200"/>
              </a:lnSpc>
              <a:buNone/>
              <a:defRPr sz="2400" b="1">
                <a:solidFill>
                  <a:schemeClr val="accent5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6A6BF131-093D-435C-9BED-223DF45649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3895344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aim DARK">
    <p:bg>
      <p:bgPr>
        <a:blipFill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DE6080A-27AC-4D83-A570-992F95EEFD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9683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DE6080A-27AC-4D83-A570-992F95EEFD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>
            <a:extLst>
              <a:ext uri="{FF2B5EF4-FFF2-40B4-BE49-F238E27FC236}">
                <a16:creationId xmlns:a16="http://schemas.microsoft.com/office/drawing/2014/main" id="{F40D1E7E-7411-4AFD-B6D1-14319F565AB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836000" y="431800"/>
            <a:ext cx="266700" cy="504825"/>
          </a:xfrm>
          <a:prstGeom prst="rect">
            <a:avLst/>
          </a:prstGeom>
        </p:spPr>
      </p:pic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D23828A-2D1F-45B9-A821-9A82235532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01.05.2022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E2C9E65-9DB8-4338-81DC-37214567F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desso_PPT_Libary_2022_05_01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CAAA6C5-3E55-4209-94E8-5221649BF8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9FDF44F-8C22-40FA-B750-DD433501A4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80000" y="1800225"/>
            <a:ext cx="7560000" cy="4176713"/>
          </a:xfrm>
        </p:spPr>
        <p:txBody>
          <a:bodyPr/>
          <a:lstStyle>
            <a:lvl1pPr>
              <a:lnSpc>
                <a:spcPts val="3200"/>
              </a:lnSpc>
              <a:defRPr sz="2400" b="0">
                <a:solidFill>
                  <a:schemeClr val="bg1"/>
                </a:solidFill>
              </a:defRPr>
            </a:lvl1pPr>
            <a:lvl2pPr marL="0" indent="0">
              <a:lnSpc>
                <a:spcPts val="3200"/>
              </a:lnSpc>
              <a:buNone/>
              <a:defRPr sz="24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112A4851-5ABB-4547-91F1-5CE8A8EDE3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solidFill>
            <a:schemeClr val="bg1"/>
          </a:solidFill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464971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DARK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90C6F88-25A2-4779-BE60-14363614E3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01306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90C6F88-25A2-4779-BE60-14363614E3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98B56CE4-694D-4EAC-90BC-DE7931C5A2E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223712" y="1587"/>
            <a:ext cx="8315325" cy="6477000"/>
          </a:xfrm>
          <a:prstGeom prst="rect">
            <a:avLst/>
          </a:prstGeom>
        </p:spPr>
      </p:pic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54713CB-AA68-4ADF-808A-3967EF18C1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01.05.2022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555F28B-BDBF-413E-9727-643E5A1DDE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desso_PPT_Libary_2022_05_01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71D7498-E557-403D-BF95-106392436B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FB614838-8B06-4CFE-ABF1-BE7BB32DD06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1800" y="1800224"/>
            <a:ext cx="10656888" cy="417671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457200" indent="-457200">
              <a:buFontTx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FF4DCAE7-9151-42E9-A92A-B7811399A86C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836000" y="431800"/>
            <a:ext cx="266700" cy="504825"/>
          </a:xfrm>
          <a:prstGeom prst="rect">
            <a:avLst/>
          </a:prstGeo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C89502B5-BDA9-4F39-8160-24B865EF57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2473992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w/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ABB98FA-9B78-4277-801D-DFCD996E0C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2323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ABB98FA-9B78-4277-801D-DFCD996E0C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D870560-21E5-43EA-A374-AD42A8C4252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1520488" cy="6480175"/>
          </a:xfrm>
          <a:solidFill>
            <a:schemeClr val="bg2"/>
          </a:solidFill>
        </p:spPr>
        <p:txBody>
          <a:bodyPr/>
          <a:lstStyle/>
          <a:p>
            <a:pPr marL="0" marR="0" lvl="0" indent="0" algn="l" defTabSz="864017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lease insert picture</a:t>
            </a:r>
          </a:p>
          <a:p>
            <a:endParaRPr lang="en-US"/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D1DDE135-087D-48D1-87D8-7119F994434D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10836300" y="431800"/>
            <a:ext cx="266400" cy="504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2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D23828A-2D1F-45B9-A821-9A82235532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01.05.2022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E2C9E65-9DB8-4338-81DC-37214567F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desso_PPT_Libary_2022_05_01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CAAA6C5-3E55-4209-94E8-5221649BF8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9FDF44F-8C22-40FA-B750-DD433501A4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1223864"/>
            <a:ext cx="3096000" cy="4753074"/>
          </a:xfrm>
        </p:spPr>
        <p:txBody>
          <a:bodyPr/>
          <a:lstStyle>
            <a:lvl1pPr>
              <a:lnSpc>
                <a:spcPts val="2300"/>
              </a:lnSpc>
              <a:defRPr sz="1800" b="0">
                <a:solidFill>
                  <a:schemeClr val="accent1"/>
                </a:solidFill>
                <a:latin typeface="+mj-lt"/>
              </a:defRPr>
            </a:lvl1pPr>
            <a:lvl2pPr marL="342900" indent="-342900">
              <a:spcBef>
                <a:spcPts val="600"/>
              </a:spcBef>
              <a:buFontTx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  <a:defRPr sz="3100">
                <a:solidFill>
                  <a:schemeClr val="tx1">
                    <a:alpha val="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Ebene2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0CBC1202-57F9-4F31-B00F-7075629837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36451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4D93EF8A-C553-456A-8855-BC2209C595E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-1"/>
            <a:ext cx="11520488" cy="6300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en-US"/>
              <a:t>Please insert picture</a:t>
            </a:r>
          </a:p>
        </p:txBody>
      </p:sp>
      <p:sp>
        <p:nvSpPr>
          <p:cNvPr id="8" name="Bildplatzhalter 11">
            <a:extLst>
              <a:ext uri="{FF2B5EF4-FFF2-40B4-BE49-F238E27FC236}">
                <a16:creationId xmlns:a16="http://schemas.microsoft.com/office/drawing/2014/main" id="{7FD4C7DD-03C4-45C3-92A7-10D074AE8314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10836300" y="431800"/>
            <a:ext cx="266400" cy="504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2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01C0CB2-159F-4441-8A67-F8B6FC1DFD0B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0" y="6300000"/>
            <a:ext cx="1152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58100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4D93EF8A-C553-456A-8855-BC2209C595E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-1"/>
            <a:ext cx="11520488" cy="64800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864017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lease insert picture</a:t>
            </a:r>
          </a:p>
          <a:p>
            <a:endParaRPr lang="en-US"/>
          </a:p>
        </p:txBody>
      </p:sp>
      <p:sp>
        <p:nvSpPr>
          <p:cNvPr id="8" name="Bildplatzhalter 11">
            <a:extLst>
              <a:ext uri="{FF2B5EF4-FFF2-40B4-BE49-F238E27FC236}">
                <a16:creationId xmlns:a16="http://schemas.microsoft.com/office/drawing/2014/main" id="{7FD4C7DD-03C4-45C3-92A7-10D074AE8314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10836300" y="431800"/>
            <a:ext cx="266400" cy="504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2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50EB05E-444A-4883-A917-D336219F63E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01.05.2022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E9BDD1E-55C6-46D6-A0C9-A9E0E7BA87C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desso_PPT_Libary_2022_05_01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8A491EE-5570-4717-970C-05CAF86F221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32556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F8B6C6F-BD2C-4E55-AB78-1E63310AE5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712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F8B6C6F-BD2C-4E55-AB78-1E63310AE5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8A6650AC-28E1-4DD3-BE53-8F41339810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1.05.2022</a:t>
            </a: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B40FC3A8-5A84-4805-8669-A4FD5B88C4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desso_PPT_Libary_2022_05_01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FFE3EA8E-4B59-4444-9883-E7B8A4374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E70650A6-A24B-498D-9EFD-E657A8C8685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1800" y="1800225"/>
            <a:ext cx="5256213" cy="41767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Inhaltsplatzhalter 11">
            <a:extLst>
              <a:ext uri="{FF2B5EF4-FFF2-40B4-BE49-F238E27FC236}">
                <a16:creationId xmlns:a16="http://schemas.microsoft.com/office/drawing/2014/main" id="{11984634-E143-4B7F-A5F6-A2B3CAA9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834476" y="1798544"/>
            <a:ext cx="5256213" cy="41767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EC569744-C8ED-4779-AC80-DA1B98385F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386622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DARK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7D9BBC2-7310-4903-940B-90690B2985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8204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7D9BBC2-7310-4903-940B-90690B2985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32D1F650-5CAB-42D2-955B-132A759D7E0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223712" y="1587"/>
            <a:ext cx="8315325" cy="647700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D9971FA2-30EF-43C5-8436-38D2FA44D3C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836000" y="431800"/>
            <a:ext cx="266700" cy="504825"/>
          </a:xfrm>
          <a:prstGeom prst="rect">
            <a:avLst/>
          </a:prstGeom>
        </p:spPr>
      </p:pic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8A6650AC-28E1-4DD3-BE53-8F41339810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01.05.2022</a:t>
            </a: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B40FC3A8-5A84-4805-8669-A4FD5B88C4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desso_PPT_Libary_2022_05_01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FFE3EA8E-4B59-4444-9883-E7B8A4374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E70650A6-A24B-498D-9EFD-E657A8C8685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1800" y="1800225"/>
            <a:ext cx="5256213" cy="41767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457200" indent="-457200">
              <a:buFontTx/>
              <a:buBlip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13" name="Inhaltsplatzhalter 11">
            <a:extLst>
              <a:ext uri="{FF2B5EF4-FFF2-40B4-BE49-F238E27FC236}">
                <a16:creationId xmlns:a16="http://schemas.microsoft.com/office/drawing/2014/main" id="{11984634-E143-4B7F-A5F6-A2B3CAA9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834476" y="1798544"/>
            <a:ext cx="5256213" cy="41767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457200" indent="-457200">
              <a:buFontTx/>
              <a:buBlip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DCAB2934-C1F1-4C84-8F44-C2C2C2A06F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586665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Blank righ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9BAEFD2-0EB7-47F4-8C01-9A831DB98F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60063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9BAEFD2-0EB7-47F4-8C01-9A831DB98F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8A6650AC-28E1-4DD3-BE53-8F41339810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1.05.2022</a:t>
            </a: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B40FC3A8-5A84-4805-8669-A4FD5B88C4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desso_PPT_Libary_2022_05_01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FFE3EA8E-4B59-4444-9883-E7B8A4374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E70650A6-A24B-498D-9EFD-E657A8C8685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1800" y="1800225"/>
            <a:ext cx="5256213" cy="41767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E1D7390F-3EB9-4359-AEBA-12555B6185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28588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Blank right DARK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C204245-BF56-40B8-9CE1-94AA0C033D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6547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FC204245-BF56-40B8-9CE1-94AA0C033D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021B20DC-25FC-4FB7-9E88-AC426D9AEE3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223712" y="1587"/>
            <a:ext cx="8315325" cy="6477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B01F2409-D2A1-4542-BC70-C7CD6CB1ED1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836000" y="431800"/>
            <a:ext cx="266700" cy="504825"/>
          </a:xfrm>
          <a:prstGeom prst="rect">
            <a:avLst/>
          </a:prstGeom>
        </p:spPr>
      </p:pic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8A6650AC-28E1-4DD3-BE53-8F41339810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01.05.2022</a:t>
            </a: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B40FC3A8-5A84-4805-8669-A4FD5B88C4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desso_PPT_Libary_2022_05_01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FFE3EA8E-4B59-4444-9883-E7B8A4374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E70650A6-A24B-498D-9EFD-E657A8C8685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1800" y="1800225"/>
            <a:ext cx="5256213" cy="41767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457200" indent="-457200">
              <a:buFontTx/>
              <a:buBlip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2651F15-C668-4A10-A0A3-FAF165CE57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635557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sv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5.svg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4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oleObject" Target="../embeddings/oleObject13.bin"/><Relationship Id="rId3" Type="http://schemas.openxmlformats.org/officeDocument/2006/relationships/slideLayout" Target="../slideLayouts/slideLayout18.xml"/><Relationship Id="rId21" Type="http://schemas.openxmlformats.org/officeDocument/2006/relationships/image" Target="../media/image3.svg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tags" Target="../tags/tag14.xml"/><Relationship Id="rId25" Type="http://schemas.openxmlformats.org/officeDocument/2006/relationships/image" Target="../media/image5.svg"/><Relationship Id="rId2" Type="http://schemas.openxmlformats.org/officeDocument/2006/relationships/slideLayout" Target="../slideLayouts/slideLayout17.xml"/><Relationship Id="rId16" Type="http://schemas.openxmlformats.org/officeDocument/2006/relationships/theme" Target="../theme/theme2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image" Target="../media/image4.png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image" Target="../media/image19.svg"/><Relationship Id="rId10" Type="http://schemas.openxmlformats.org/officeDocument/2006/relationships/slideLayout" Target="../slideLayouts/slideLayout25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image" Target="../media/image18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48FB46A-897A-4FBB-9A4C-5AC3888838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9763530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344" imgH="345" progId="TCLayout.ActiveDocument.1">
                  <p:embed/>
                </p:oleObj>
              </mc:Choice>
              <mc:Fallback>
                <p:oleObj name="think-cell Folie" r:id="rId18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48FB46A-897A-4FBB-9A4C-5AC3888838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1801" y="431800"/>
            <a:ext cx="5210163" cy="483960"/>
          </a:xfrm>
          <a:prstGeom prst="rect">
            <a:avLst/>
          </a:prstGeom>
          <a:solidFill>
            <a:schemeClr val="accent1"/>
          </a:solidFill>
        </p:spPr>
        <p:txBody>
          <a:bodyPr vert="horz" wrap="none" lIns="180000" tIns="72000" rIns="180000" bIns="72000" rtlCol="0" anchor="ctr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1801" y="1800225"/>
            <a:ext cx="10656887" cy="41767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4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044000" y="6156000"/>
            <a:ext cx="720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01.05.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00000" y="6156000"/>
            <a:ext cx="6372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 b="1" cap="all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adesso_PPT_Libary_2022_05_0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36000" y="6156000"/>
            <a:ext cx="360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tabLst>
                <a:tab pos="252000" algn="r"/>
              </a:tabLst>
              <a:defRPr sz="10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8C188E2-DF28-48FB-8EEC-71D6A13B9A9E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0836000" y="431800"/>
            <a:ext cx="266700" cy="504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83660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50" r:id="rId2"/>
    <p:sldLayoutId id="2147483671" r:id="rId3"/>
    <p:sldLayoutId id="2147483663" r:id="rId4"/>
    <p:sldLayoutId id="2147483665" r:id="rId5"/>
    <p:sldLayoutId id="2147483652" r:id="rId6"/>
    <p:sldLayoutId id="2147483683" r:id="rId7"/>
    <p:sldLayoutId id="2147483670" r:id="rId8"/>
    <p:sldLayoutId id="2147483672" r:id="rId9"/>
    <p:sldLayoutId id="2147483654" r:id="rId10"/>
    <p:sldLayoutId id="2147483673" r:id="rId11"/>
    <p:sldLayoutId id="2147483655" r:id="rId12"/>
    <p:sldLayoutId id="2147483668" r:id="rId13"/>
    <p:sldLayoutId id="2147483682" r:id="rId14"/>
    <p:sldLayoutId id="2147483661" r:id="rId15"/>
  </p:sldLayoutIdLst>
  <p:hf hdr="0" ftr="0"/>
  <p:txStyles>
    <p:titleStyle>
      <a:lvl1pPr algn="l" defTabSz="864017" rtl="0" eaLnBrk="1" latinLnBrk="0" hangingPunct="1">
        <a:spcBef>
          <a:spcPct val="0"/>
        </a:spcBef>
        <a:buNone/>
        <a:defRPr sz="2200" b="1" kern="1200" cap="all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864017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lang="en-US"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52000" indent="-252000" algn="l" defTabSz="864017" rtl="0" eaLnBrk="1" latinLnBrk="0" hangingPunct="1">
        <a:lnSpc>
          <a:spcPts val="24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&gt;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180000" algn="l" defTabSz="864017" rtl="0" eaLnBrk="1" latinLnBrk="0" hangingPunct="1">
        <a:lnSpc>
          <a:spcPts val="2400"/>
        </a:lnSpc>
        <a:spcBef>
          <a:spcPts val="0"/>
        </a:spcBef>
        <a:buFont typeface="Open Sans" panose="020B0606030504020204" pitchFamily="34" charset="0"/>
        <a:buChar char="-"/>
        <a:defRPr lang="en-US"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864017" rtl="0" eaLnBrk="1" latinLnBrk="0" hangingPunct="1">
        <a:lnSpc>
          <a:spcPts val="2400"/>
        </a:lnSpc>
        <a:spcBef>
          <a:spcPts val="0"/>
        </a:spcBef>
        <a:buClr>
          <a:schemeClr val="accent1"/>
        </a:buClr>
        <a:buFont typeface="Arial" panose="020B0604020202020204" pitchFamily="34" charset="0"/>
        <a:buNone/>
        <a:defRPr sz="1800" kern="1200">
          <a:solidFill>
            <a:schemeClr val="accent1"/>
          </a:solidFill>
          <a:latin typeface="Open Sans Light" pitchFamily="2" charset="0"/>
          <a:ea typeface="Open Sans Light" pitchFamily="2" charset="0"/>
          <a:cs typeface="Open Sans Light" pitchFamily="2" charset="0"/>
        </a:defRPr>
      </a:lvl4pPr>
      <a:lvl5pPr marL="0" indent="0" algn="l" defTabSz="864017" rtl="0" eaLnBrk="1" latinLnBrk="0" hangingPunct="1">
        <a:lnSpc>
          <a:spcPts val="1200"/>
        </a:lnSpc>
        <a:spcBef>
          <a:spcPts val="0"/>
        </a:spcBef>
        <a:buFont typeface="Open Sans" panose="020B0606030504020204" pitchFamily="34" charset="0"/>
        <a:buNone/>
        <a:defRPr lang="en-US" sz="900" b="1" kern="1200">
          <a:solidFill>
            <a:schemeClr val="accent1"/>
          </a:solidFill>
          <a:latin typeface="+mn-lt"/>
          <a:ea typeface="+mn-ea"/>
          <a:cs typeface="+mn-cs"/>
        </a:defRPr>
      </a:lvl5pPr>
      <a:lvl6pPr marL="0" indent="0" algn="l" defTabSz="864017" rtl="0" eaLnBrk="1" latinLnBrk="0" hangingPunct="1">
        <a:lnSpc>
          <a:spcPts val="2400"/>
        </a:lnSpc>
        <a:spcBef>
          <a:spcPts val="600"/>
        </a:spcBef>
        <a:spcAft>
          <a:spcPts val="600"/>
        </a:spcAft>
        <a:buFontTx/>
        <a:buBlip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</a:buBlip>
        <a:defRPr sz="3100" kern="1200">
          <a:solidFill>
            <a:schemeClr val="accent1"/>
          </a:solidFill>
          <a:latin typeface="+mn-lt"/>
          <a:ea typeface="+mn-ea"/>
          <a:cs typeface="+mn-cs"/>
        </a:defRPr>
      </a:lvl6pPr>
      <a:lvl7pPr marL="0" indent="0" algn="l" defTabSz="864017" rtl="0" eaLnBrk="1" latinLnBrk="0" hangingPunct="1">
        <a:spcBef>
          <a:spcPts val="0"/>
        </a:spcBef>
        <a:buFont typeface="Arial" panose="020B0604020202020204" pitchFamily="34" charset="0"/>
        <a:buNone/>
        <a:defRPr sz="1890" b="1" i="0" kern="1200">
          <a:solidFill>
            <a:srgbClr val="FF0000"/>
          </a:solidFill>
          <a:latin typeface="+mn-lt"/>
          <a:ea typeface="+mn-ea"/>
          <a:cs typeface="+mn-cs"/>
        </a:defRPr>
      </a:lvl7pPr>
      <a:lvl8pPr marL="3240062" indent="-216004" algn="l" defTabSz="864017" rtl="0" eaLnBrk="1" latinLnBrk="0" hangingPunct="1">
        <a:spcBef>
          <a:spcPct val="20000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8pPr>
      <a:lvl9pPr marL="3672070" indent="-216004" algn="l" defTabSz="864017" rtl="0" eaLnBrk="1" latinLnBrk="0" hangingPunct="1">
        <a:spcBef>
          <a:spcPct val="20000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17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25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33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1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72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pos="6985" userDrawn="1">
          <p15:clr>
            <a:srgbClr val="F26B43"/>
          </p15:clr>
        </p15:guide>
        <p15:guide id="4" pos="3583" userDrawn="1">
          <p15:clr>
            <a:srgbClr val="F26B43"/>
          </p15:clr>
        </p15:guide>
        <p15:guide id="5" pos="3674" userDrawn="1">
          <p15:clr>
            <a:srgbClr val="F26B43"/>
          </p15:clr>
        </p15:guide>
        <p15:guide id="6" orient="horz" pos="1134" userDrawn="1">
          <p15:clr>
            <a:srgbClr val="F26B43"/>
          </p15:clr>
        </p15:guide>
        <p15:guide id="7" orient="horz" pos="376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48FB46A-897A-4FBB-9A4C-5AC3888838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9763530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344" imgH="345" progId="TCLayout.ActiveDocument.1">
                  <p:embed/>
                </p:oleObj>
              </mc:Choice>
              <mc:Fallback>
                <p:oleObj name="think-cell Folie" r:id="rId18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48FB46A-897A-4FBB-9A4C-5AC3888838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1801" y="431800"/>
            <a:ext cx="5210163" cy="483960"/>
          </a:xfrm>
          <a:prstGeom prst="rect">
            <a:avLst/>
          </a:prstGeom>
          <a:solidFill>
            <a:schemeClr val="tx1"/>
          </a:solidFill>
        </p:spPr>
        <p:txBody>
          <a:bodyPr vert="horz" wrap="none" lIns="180000" tIns="72000" rIns="180000" bIns="72000" rtlCol="0" anchor="ctr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1801" y="1800225"/>
            <a:ext cx="10656887" cy="41767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4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044000" y="6156000"/>
            <a:ext cx="720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01.05.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00000" y="6156000"/>
            <a:ext cx="6372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 b="1" cap="all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adesso_PPT_Libary_2022_05_0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36000" y="6156000"/>
            <a:ext cx="360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tabLst>
                <a:tab pos="252000" algn="r"/>
              </a:tabLst>
              <a:defRPr sz="10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8C188E2-DF28-48FB-8EEC-71D6A13B9A9E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0836000" y="431800"/>
            <a:ext cx="266700" cy="504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88459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</p:sldLayoutIdLst>
  <p:hf hdr="0" ftr="0"/>
  <p:txStyles>
    <p:titleStyle>
      <a:lvl1pPr algn="l" defTabSz="864017" rtl="0" eaLnBrk="1" latinLnBrk="0" hangingPunct="1">
        <a:spcBef>
          <a:spcPct val="0"/>
        </a:spcBef>
        <a:buNone/>
        <a:defRPr sz="2200" b="1" kern="1200" cap="all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864017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lang="en-US"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52000" indent="-252000" algn="l" defTabSz="864017" rtl="0" eaLnBrk="1" latinLnBrk="0" hangingPunct="1">
        <a:lnSpc>
          <a:spcPts val="2400"/>
        </a:lnSpc>
        <a:spcBef>
          <a:spcPts val="0"/>
        </a:spcBef>
        <a:buClr>
          <a:schemeClr val="accent1"/>
        </a:buClr>
        <a:buFontTx/>
        <a:buBlip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180000" algn="l" defTabSz="864017" rtl="0" eaLnBrk="1" latinLnBrk="0" hangingPunct="1">
        <a:lnSpc>
          <a:spcPts val="2400"/>
        </a:lnSpc>
        <a:spcBef>
          <a:spcPts val="0"/>
        </a:spcBef>
        <a:buFontTx/>
        <a:buBlip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</a:buBlip>
        <a:defRPr lang="en-US"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864017" rtl="0" eaLnBrk="1" latinLnBrk="0" hangingPunct="1">
        <a:lnSpc>
          <a:spcPts val="2400"/>
        </a:lnSpc>
        <a:spcBef>
          <a:spcPts val="0"/>
        </a:spcBef>
        <a:buClr>
          <a:schemeClr val="accent1"/>
        </a:buClr>
        <a:buFont typeface="Arial" panose="020B0604020202020204" pitchFamily="34" charset="0"/>
        <a:buNone/>
        <a:defRPr sz="1800" kern="1200">
          <a:solidFill>
            <a:schemeClr val="tx1"/>
          </a:solidFill>
          <a:latin typeface="Open Sans Light" pitchFamily="2" charset="0"/>
          <a:ea typeface="Open Sans Light" pitchFamily="2" charset="0"/>
          <a:cs typeface="Open Sans Light" pitchFamily="2" charset="0"/>
        </a:defRPr>
      </a:lvl4pPr>
      <a:lvl5pPr marL="0" indent="0" algn="l" defTabSz="864017" rtl="0" eaLnBrk="1" latinLnBrk="0" hangingPunct="1">
        <a:lnSpc>
          <a:spcPts val="1200"/>
        </a:lnSpc>
        <a:spcBef>
          <a:spcPts val="0"/>
        </a:spcBef>
        <a:buFont typeface="Open Sans" panose="020B0606030504020204" pitchFamily="34" charset="0"/>
        <a:buNone/>
        <a:defRPr lang="en-US" sz="9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864017" rtl="0" eaLnBrk="1" latinLnBrk="0" hangingPunct="1">
        <a:lnSpc>
          <a:spcPts val="2400"/>
        </a:lnSpc>
        <a:spcBef>
          <a:spcPts val="600"/>
        </a:spcBef>
        <a:spcAft>
          <a:spcPts val="600"/>
        </a:spcAft>
        <a:buFontTx/>
        <a:buBlip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</a:buBlip>
        <a:defRPr sz="3100" kern="1200">
          <a:solidFill>
            <a:schemeClr val="accent1"/>
          </a:solidFill>
          <a:latin typeface="+mn-lt"/>
          <a:ea typeface="+mn-ea"/>
          <a:cs typeface="+mn-cs"/>
        </a:defRPr>
      </a:lvl6pPr>
      <a:lvl7pPr marL="0" indent="0" algn="l" defTabSz="864017" rtl="0" eaLnBrk="1" latinLnBrk="0" hangingPunct="1">
        <a:spcBef>
          <a:spcPts val="0"/>
        </a:spcBef>
        <a:buFont typeface="Arial" panose="020B0604020202020204" pitchFamily="34" charset="0"/>
        <a:buNone/>
        <a:defRPr sz="1890" b="1" i="0" kern="1200">
          <a:solidFill>
            <a:srgbClr val="FF0000"/>
          </a:solidFill>
          <a:latin typeface="+mn-lt"/>
          <a:ea typeface="+mn-ea"/>
          <a:cs typeface="+mn-cs"/>
        </a:defRPr>
      </a:lvl7pPr>
      <a:lvl8pPr marL="3240062" indent="-216004" algn="l" defTabSz="864017" rtl="0" eaLnBrk="1" latinLnBrk="0" hangingPunct="1">
        <a:spcBef>
          <a:spcPct val="20000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8pPr>
      <a:lvl9pPr marL="3672070" indent="-216004" algn="l" defTabSz="864017" rtl="0" eaLnBrk="1" latinLnBrk="0" hangingPunct="1">
        <a:spcBef>
          <a:spcPct val="20000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17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25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33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1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72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pos="6985" userDrawn="1">
          <p15:clr>
            <a:srgbClr val="F26B43"/>
          </p15:clr>
        </p15:guide>
        <p15:guide id="4" pos="3583" userDrawn="1">
          <p15:clr>
            <a:srgbClr val="F26B43"/>
          </p15:clr>
        </p15:guide>
        <p15:guide id="5" pos="3674" userDrawn="1">
          <p15:clr>
            <a:srgbClr val="F26B43"/>
          </p15:clr>
        </p15:guide>
        <p15:guide id="6" orient="horz" pos="1134" userDrawn="1">
          <p15:clr>
            <a:srgbClr val="F26B43"/>
          </p15:clr>
        </p15:guide>
        <p15:guide id="7" orient="horz" pos="376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4.xml"/><Relationship Id="rId4" Type="http://schemas.openxmlformats.org/officeDocument/2006/relationships/image" Target="../media/image24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5.xml"/><Relationship Id="rId5" Type="http://schemas.openxmlformats.org/officeDocument/2006/relationships/image" Target="../media/image31.png"/><Relationship Id="rId4" Type="http://schemas.openxmlformats.org/officeDocument/2006/relationships/image" Target="../media/image24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6.xml"/><Relationship Id="rId5" Type="http://schemas.openxmlformats.org/officeDocument/2006/relationships/image" Target="../media/image32.png"/><Relationship Id="rId4" Type="http://schemas.openxmlformats.org/officeDocument/2006/relationships/image" Target="../media/image24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7.xml"/><Relationship Id="rId5" Type="http://schemas.openxmlformats.org/officeDocument/2006/relationships/image" Target="../media/image33.png"/><Relationship Id="rId4" Type="http://schemas.openxmlformats.org/officeDocument/2006/relationships/image" Target="../media/image24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8.xml"/><Relationship Id="rId5" Type="http://schemas.openxmlformats.org/officeDocument/2006/relationships/image" Target="../media/image34.png"/><Relationship Id="rId4" Type="http://schemas.openxmlformats.org/officeDocument/2006/relationships/image" Target="../media/image24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9.xml"/><Relationship Id="rId5" Type="http://schemas.openxmlformats.org/officeDocument/2006/relationships/image" Target="../media/image35.png"/><Relationship Id="rId4" Type="http://schemas.openxmlformats.org/officeDocument/2006/relationships/image" Target="../media/image24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0.xml"/><Relationship Id="rId5" Type="http://schemas.openxmlformats.org/officeDocument/2006/relationships/image" Target="../media/image36.png"/><Relationship Id="rId4" Type="http://schemas.openxmlformats.org/officeDocument/2006/relationships/image" Target="../media/image24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1.xml"/><Relationship Id="rId5" Type="http://schemas.openxmlformats.org/officeDocument/2006/relationships/image" Target="../media/image37.png"/><Relationship Id="rId4" Type="http://schemas.openxmlformats.org/officeDocument/2006/relationships/image" Target="../media/image24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2.xml"/><Relationship Id="rId4" Type="http://schemas.openxmlformats.org/officeDocument/2006/relationships/image" Target="../media/image24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3.xml"/><Relationship Id="rId5" Type="http://schemas.openxmlformats.org/officeDocument/2006/relationships/image" Target="../media/image38.png"/><Relationship Id="rId4" Type="http://schemas.openxmlformats.org/officeDocument/2006/relationships/image" Target="../media/image24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6.xml"/><Relationship Id="rId6" Type="http://schemas.openxmlformats.org/officeDocument/2006/relationships/image" Target="../media/image26.svg"/><Relationship Id="rId5" Type="http://schemas.openxmlformats.org/officeDocument/2006/relationships/image" Target="../media/image25.png"/><Relationship Id="rId4" Type="http://schemas.openxmlformats.org/officeDocument/2006/relationships/image" Target="../media/image24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4.xml"/><Relationship Id="rId5" Type="http://schemas.openxmlformats.org/officeDocument/2006/relationships/image" Target="../media/image39.png"/><Relationship Id="rId4" Type="http://schemas.openxmlformats.org/officeDocument/2006/relationships/image" Target="../media/image24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5.xml"/><Relationship Id="rId5" Type="http://schemas.openxmlformats.org/officeDocument/2006/relationships/image" Target="../media/image40.png"/><Relationship Id="rId4" Type="http://schemas.openxmlformats.org/officeDocument/2006/relationships/image" Target="../media/image24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6.xml"/><Relationship Id="rId5" Type="http://schemas.openxmlformats.org/officeDocument/2006/relationships/image" Target="../media/image41.png"/><Relationship Id="rId4" Type="http://schemas.openxmlformats.org/officeDocument/2006/relationships/image" Target="../media/image24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7.xml"/><Relationship Id="rId5" Type="http://schemas.openxmlformats.org/officeDocument/2006/relationships/image" Target="../media/image42.png"/><Relationship Id="rId4" Type="http://schemas.openxmlformats.org/officeDocument/2006/relationships/image" Target="../media/image24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8.xml"/><Relationship Id="rId5" Type="http://schemas.openxmlformats.org/officeDocument/2006/relationships/image" Target="../media/image43.png"/><Relationship Id="rId4" Type="http://schemas.openxmlformats.org/officeDocument/2006/relationships/image" Target="../media/image24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9.xml"/><Relationship Id="rId5" Type="http://schemas.openxmlformats.org/officeDocument/2006/relationships/image" Target="../media/image44.png"/><Relationship Id="rId4" Type="http://schemas.openxmlformats.org/officeDocument/2006/relationships/image" Target="../media/image24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0.xml"/><Relationship Id="rId5" Type="http://schemas.openxmlformats.org/officeDocument/2006/relationships/image" Target="../media/image45.png"/><Relationship Id="rId4" Type="http://schemas.openxmlformats.org/officeDocument/2006/relationships/image" Target="../media/image24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1.xml"/><Relationship Id="rId5" Type="http://schemas.openxmlformats.org/officeDocument/2006/relationships/image" Target="../media/image46.png"/><Relationship Id="rId4" Type="http://schemas.openxmlformats.org/officeDocument/2006/relationships/image" Target="../media/image24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2.xml"/><Relationship Id="rId5" Type="http://schemas.openxmlformats.org/officeDocument/2006/relationships/image" Target="../media/image47.png"/><Relationship Id="rId4" Type="http://schemas.openxmlformats.org/officeDocument/2006/relationships/image" Target="../media/image24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3.xml"/><Relationship Id="rId5" Type="http://schemas.openxmlformats.org/officeDocument/2006/relationships/image" Target="../media/image48.png"/><Relationship Id="rId4" Type="http://schemas.openxmlformats.org/officeDocument/2006/relationships/image" Target="../media/image24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7.xml"/><Relationship Id="rId4" Type="http://schemas.openxmlformats.org/officeDocument/2006/relationships/image" Target="../media/image24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4.xml"/><Relationship Id="rId5" Type="http://schemas.openxmlformats.org/officeDocument/2006/relationships/image" Target="../media/image49.png"/><Relationship Id="rId4" Type="http://schemas.openxmlformats.org/officeDocument/2006/relationships/image" Target="../media/image24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5.xml"/><Relationship Id="rId5" Type="http://schemas.openxmlformats.org/officeDocument/2006/relationships/image" Target="../media/image50.png"/><Relationship Id="rId4" Type="http://schemas.openxmlformats.org/officeDocument/2006/relationships/image" Target="../media/image24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6.xml"/><Relationship Id="rId5" Type="http://schemas.openxmlformats.org/officeDocument/2006/relationships/image" Target="../media/image51.png"/><Relationship Id="rId4" Type="http://schemas.openxmlformats.org/officeDocument/2006/relationships/image" Target="../media/image24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7.xml"/><Relationship Id="rId5" Type="http://schemas.openxmlformats.org/officeDocument/2006/relationships/image" Target="../media/image52.png"/><Relationship Id="rId4" Type="http://schemas.openxmlformats.org/officeDocument/2006/relationships/image" Target="../media/image24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8.xml"/><Relationship Id="rId5" Type="http://schemas.openxmlformats.org/officeDocument/2006/relationships/image" Target="../media/image53.png"/><Relationship Id="rId4" Type="http://schemas.openxmlformats.org/officeDocument/2006/relationships/image" Target="../media/image24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9.xml"/><Relationship Id="rId4" Type="http://schemas.openxmlformats.org/officeDocument/2006/relationships/image" Target="../media/image24.emf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0.xml"/><Relationship Id="rId4" Type="http://schemas.openxmlformats.org/officeDocument/2006/relationships/image" Target="../media/image24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1.xml"/><Relationship Id="rId4" Type="http://schemas.openxmlformats.org/officeDocument/2006/relationships/image" Target="../media/image24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2.xml"/><Relationship Id="rId4" Type="http://schemas.openxmlformats.org/officeDocument/2006/relationships/image" Target="../media/image24.emf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8.xml"/><Relationship Id="rId4" Type="http://schemas.openxmlformats.org/officeDocument/2006/relationships/image" Target="../media/image24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9.xml"/><Relationship Id="rId4" Type="http://schemas.openxmlformats.org/officeDocument/2006/relationships/image" Target="../media/image24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0.xml"/><Relationship Id="rId5" Type="http://schemas.openxmlformats.org/officeDocument/2006/relationships/image" Target="../media/image27.png"/><Relationship Id="rId4" Type="http://schemas.openxmlformats.org/officeDocument/2006/relationships/image" Target="../media/image24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1.xml"/><Relationship Id="rId5" Type="http://schemas.openxmlformats.org/officeDocument/2006/relationships/image" Target="../media/image28.png"/><Relationship Id="rId4" Type="http://schemas.openxmlformats.org/officeDocument/2006/relationships/image" Target="../media/image24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2.xml"/><Relationship Id="rId5" Type="http://schemas.openxmlformats.org/officeDocument/2006/relationships/image" Target="../media/image29.png"/><Relationship Id="rId4" Type="http://schemas.openxmlformats.org/officeDocument/2006/relationships/image" Target="../media/image24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3.xml"/><Relationship Id="rId5" Type="http://schemas.openxmlformats.org/officeDocument/2006/relationships/image" Target="../media/image30.png"/><Relationship Id="rId4" Type="http://schemas.openxmlformats.org/officeDocument/2006/relationships/image" Target="../media/image2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B2B96E4D-0157-D83D-D88A-40DA6D6A82FE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/>
          <a:srcRect t="12261" b="12261"/>
          <a:stretch>
            <a:fillRect/>
          </a:stretch>
        </p:blipFill>
        <p:spPr/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CABCF18-A8BA-22CA-7A8D-0654A678B50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dirty="0"/>
              <a:t>04.03.2024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A3CFAE1-7D50-9309-D3B1-5AA5D0F21DD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160125" y="6156325"/>
            <a:ext cx="360363" cy="179388"/>
          </a:xfrm>
        </p:spPr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D9BBEAA-F455-1B60-4290-6F8B2B25AD4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40000" y="684632"/>
            <a:ext cx="5508000" cy="754736"/>
          </a:xfrm>
        </p:spPr>
        <p:txBody>
          <a:bodyPr/>
          <a:lstStyle/>
          <a:p>
            <a:r>
              <a:rPr lang="en-US" sz="3200" dirty="0">
                <a:solidFill>
                  <a:srgbClr val="0070C0"/>
                </a:solidFill>
              </a:rPr>
              <a:t>Camunda</a:t>
            </a:r>
            <a:endParaRPr lang="en-US" dirty="0">
              <a:solidFill>
                <a:srgbClr val="0070C0"/>
              </a:solidFill>
            </a:endParaRPr>
          </a:p>
        </p:txBody>
      </p:sp>
      <p:pic>
        <p:nvPicPr>
          <p:cNvPr id="4" name="Picture Placeholder 4">
            <a:extLst>
              <a:ext uri="{FF2B5EF4-FFF2-40B4-BE49-F238E27FC236}">
                <a16:creationId xmlns:a16="http://schemas.microsoft.com/office/drawing/2014/main" id="{7B8F59A3-59CF-1C56-1F79-B2CCE9E1B4B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2261" b="12261"/>
          <a:stretch>
            <a:fillRect/>
          </a:stretch>
        </p:blipFill>
        <p:spPr>
          <a:xfrm>
            <a:off x="0" y="1367713"/>
            <a:ext cx="11520488" cy="4968000"/>
          </a:xfrm>
          <a:prstGeom prst="rect">
            <a:avLst/>
          </a:prstGeom>
          <a:solidFill>
            <a:schemeClr val="bg2"/>
          </a:solidFill>
        </p:spPr>
      </p:pic>
    </p:spTree>
    <p:extLst>
      <p:ext uri="{BB962C8B-B14F-4D97-AF65-F5344CB8AC3E}">
        <p14:creationId xmlns:p14="http://schemas.microsoft.com/office/powerpoint/2010/main" val="63510124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2644BB4-2DB0-44B0-82FD-218F6D6FA4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2644BB4-2DB0-44B0-82FD-218F6D6FA4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BC62DD8-9ED5-44E2-876C-715E7057EB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1.05.2022</a:t>
            </a:r>
            <a:endParaRPr lang="de-DE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B145836-2A25-46BC-A45B-253ECBE06D1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Exkurs: Tasks</a:t>
            </a:r>
          </a:p>
          <a:p>
            <a:pPr lvl="1"/>
            <a:r>
              <a:rPr lang="de-DE" dirty="0"/>
              <a:t>User Task</a:t>
            </a:r>
          </a:p>
          <a:p>
            <a:pPr lvl="2"/>
            <a:r>
              <a:rPr lang="de-DE" dirty="0"/>
              <a:t>Benötigt einen Sachbearbeiter -&gt; pausiert bis der Task erledigt wurde</a:t>
            </a:r>
          </a:p>
          <a:p>
            <a:pPr lvl="1"/>
            <a:r>
              <a:rPr lang="de-DE" dirty="0"/>
              <a:t>Service Task</a:t>
            </a:r>
          </a:p>
          <a:p>
            <a:pPr lvl="2"/>
            <a:r>
              <a:rPr lang="de-DE" dirty="0"/>
              <a:t>Automatisierter Prozess -&gt; Java Code</a:t>
            </a:r>
          </a:p>
          <a:p>
            <a:pPr lvl="1"/>
            <a:r>
              <a:rPr lang="de-DE" dirty="0"/>
              <a:t>Send Task</a:t>
            </a:r>
          </a:p>
          <a:p>
            <a:pPr lvl="2"/>
            <a:r>
              <a:rPr lang="de-DE" dirty="0"/>
              <a:t>Sendet beispielsweise etwas an Kafka oder auch per Mail</a:t>
            </a:r>
          </a:p>
          <a:p>
            <a:pPr lvl="1"/>
            <a:r>
              <a:rPr lang="de-DE" dirty="0" err="1"/>
              <a:t>Receive</a:t>
            </a:r>
            <a:r>
              <a:rPr lang="de-DE" dirty="0"/>
              <a:t> Task</a:t>
            </a:r>
          </a:p>
          <a:p>
            <a:pPr lvl="2"/>
            <a:r>
              <a:rPr lang="de-DE" dirty="0"/>
              <a:t>Wartet bis eine bestimmte Nachricht erhalten wurde</a:t>
            </a:r>
          </a:p>
          <a:p>
            <a:pPr lvl="1"/>
            <a:r>
              <a:rPr lang="de-DE" dirty="0"/>
              <a:t>Business Rule Task</a:t>
            </a:r>
          </a:p>
          <a:p>
            <a:pPr lvl="2"/>
            <a:r>
              <a:rPr lang="de-DE" dirty="0"/>
              <a:t>DMN Entscheidungstabelle</a:t>
            </a:r>
          </a:p>
          <a:p>
            <a:pPr lvl="1"/>
            <a:r>
              <a:rPr lang="de-DE" dirty="0"/>
              <a:t>Skript Task</a:t>
            </a:r>
          </a:p>
          <a:p>
            <a:pPr lvl="2"/>
            <a:r>
              <a:rPr lang="de-DE" dirty="0"/>
              <a:t>Ein im </a:t>
            </a:r>
            <a:r>
              <a:rPr lang="de-DE" dirty="0" err="1"/>
              <a:t>Camunda</a:t>
            </a:r>
            <a:r>
              <a:rPr lang="de-DE" dirty="0"/>
              <a:t> </a:t>
            </a:r>
            <a:r>
              <a:rPr lang="de-DE" dirty="0" err="1"/>
              <a:t>Modeler</a:t>
            </a:r>
            <a:r>
              <a:rPr lang="de-DE" dirty="0"/>
              <a:t> hinterlegtes Skript (</a:t>
            </a:r>
            <a:r>
              <a:rPr lang="de-DE" dirty="0" err="1"/>
              <a:t>Javascript</a:t>
            </a:r>
            <a:r>
              <a:rPr lang="de-DE" dirty="0"/>
              <a:t>) wird durchlauf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BA6EA6-4628-4E99-A58B-260BE388D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1548135" cy="483960"/>
          </a:xfrm>
        </p:spPr>
        <p:txBody>
          <a:bodyPr vert="horz"/>
          <a:lstStyle/>
          <a:p>
            <a:r>
              <a:rPr lang="de-DE" dirty="0"/>
              <a:t>Beispiel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010C01-4943-F52F-D5EE-FBCCC68EF1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81437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2644BB4-2DB0-44B0-82FD-218F6D6FA4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2644BB4-2DB0-44B0-82FD-218F6D6FA4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BC62DD8-9ED5-44E2-876C-715E7057EB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1.05.2022</a:t>
            </a:r>
            <a:endParaRPr lang="de-DE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B145836-2A25-46BC-A45B-253ECBE06D1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err="1"/>
              <a:t>Camunda</a:t>
            </a:r>
            <a:r>
              <a:rPr lang="de-DE" dirty="0"/>
              <a:t> Prozess erstellen</a:t>
            </a:r>
          </a:p>
          <a:p>
            <a:pPr lvl="1"/>
            <a:r>
              <a:rPr lang="de-DE" dirty="0"/>
              <a:t>Endzustand setzen</a:t>
            </a:r>
          </a:p>
          <a:p>
            <a:pPr lvl="1"/>
            <a:r>
              <a:rPr lang="de-DE" dirty="0"/>
              <a:t>Grundlogik abgeschloss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BA6EA6-4628-4E99-A58B-260BE388D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1548135" cy="483960"/>
          </a:xfrm>
        </p:spPr>
        <p:txBody>
          <a:bodyPr vert="horz"/>
          <a:lstStyle/>
          <a:p>
            <a:r>
              <a:rPr lang="de-DE" dirty="0"/>
              <a:t>Beispiel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010C01-4943-F52F-D5EE-FBCCC68EF1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11</a:t>
            </a:fld>
            <a:endParaRPr lang="en-US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D9F8857-CE87-83E5-ECC4-78F3C51803B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3528953" y="2097252"/>
            <a:ext cx="6425042" cy="4229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516033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2644BB4-2DB0-44B0-82FD-218F6D6FA4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2644BB4-2DB0-44B0-82FD-218F6D6FA4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BC62DD8-9ED5-44E2-876C-715E7057EB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1.05.2022</a:t>
            </a:r>
            <a:endParaRPr lang="de-DE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B145836-2A25-46BC-A45B-253ECBE06D1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err="1"/>
              <a:t>Camunda</a:t>
            </a:r>
            <a:r>
              <a:rPr lang="de-DE" dirty="0"/>
              <a:t> Prozess erstellen</a:t>
            </a:r>
          </a:p>
          <a:p>
            <a:pPr lvl="1"/>
            <a:r>
              <a:rPr lang="de-DE" dirty="0"/>
              <a:t>Endzustand setzen</a:t>
            </a:r>
          </a:p>
          <a:p>
            <a:pPr lvl="1"/>
            <a:r>
              <a:rPr lang="de-DE" dirty="0"/>
              <a:t>Grundlogik abgeschloss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BA6EA6-4628-4E99-A58B-260BE388D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1548135" cy="483960"/>
          </a:xfrm>
        </p:spPr>
        <p:txBody>
          <a:bodyPr vert="horz"/>
          <a:lstStyle/>
          <a:p>
            <a:r>
              <a:rPr lang="de-DE" dirty="0"/>
              <a:t>Beispiel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010C01-4943-F52F-D5EE-FBCCC68EF1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12</a:t>
            </a:fld>
            <a:endParaRPr lang="en-US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D9F8857-CE87-83E5-ECC4-78F3C51803B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3528953" y="2097252"/>
            <a:ext cx="6425042" cy="4229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03974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2644BB4-2DB0-44B0-82FD-218F6D6FA4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2644BB4-2DB0-44B0-82FD-218F6D6FA4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BC62DD8-9ED5-44E2-876C-715E7057EB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1.05.2022</a:t>
            </a:r>
            <a:endParaRPr lang="de-DE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B145836-2A25-46BC-A45B-253ECBE06D1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Service Task anpassen</a:t>
            </a:r>
          </a:p>
          <a:p>
            <a:pPr lvl="1"/>
            <a:r>
              <a:rPr lang="de-DE" dirty="0"/>
              <a:t>External Task</a:t>
            </a:r>
          </a:p>
          <a:p>
            <a:pPr lvl="1"/>
            <a:r>
              <a:rPr lang="de-DE" dirty="0"/>
              <a:t>Sprechendes Topi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BA6EA6-4628-4E99-A58B-260BE388D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1548135" cy="483960"/>
          </a:xfrm>
        </p:spPr>
        <p:txBody>
          <a:bodyPr vert="horz"/>
          <a:lstStyle/>
          <a:p>
            <a:r>
              <a:rPr lang="de-DE" dirty="0"/>
              <a:t>Beispiel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010C01-4943-F52F-D5EE-FBCCC68EF1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13</a:t>
            </a:fld>
            <a:endParaRPr lang="en-US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D9F8857-CE87-83E5-ECC4-78F3C51803B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3532360" y="2097252"/>
            <a:ext cx="6418228" cy="4229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24277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2644BB4-2DB0-44B0-82FD-218F6D6FA4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2644BB4-2DB0-44B0-82FD-218F6D6FA4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BC62DD8-9ED5-44E2-876C-715E7057EB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1.05.2022</a:t>
            </a:r>
            <a:endParaRPr lang="de-DE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B145836-2A25-46BC-A45B-253ECBE06D1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Gesamtprozess anpassen</a:t>
            </a:r>
          </a:p>
          <a:p>
            <a:pPr lvl="1"/>
            <a:r>
              <a:rPr lang="de-DE" dirty="0"/>
              <a:t>Sprechender Name</a:t>
            </a:r>
          </a:p>
          <a:p>
            <a:pPr lvl="1"/>
            <a:r>
              <a:rPr lang="de-DE" dirty="0"/>
              <a:t>Sprechende ID</a:t>
            </a:r>
          </a:p>
          <a:p>
            <a:pPr lvl="1"/>
            <a:r>
              <a:rPr lang="de-DE" dirty="0"/>
              <a:t>Ausführbar mach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BA6EA6-4628-4E99-A58B-260BE388D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1548135" cy="483960"/>
          </a:xfrm>
        </p:spPr>
        <p:txBody>
          <a:bodyPr vert="horz"/>
          <a:lstStyle/>
          <a:p>
            <a:r>
              <a:rPr lang="de-DE" dirty="0"/>
              <a:t>Beispiel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010C01-4943-F52F-D5EE-FBCCC68EF1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14</a:t>
            </a:fld>
            <a:endParaRPr lang="en-US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D9F8857-CE87-83E5-ECC4-78F3C51803B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3544798" y="2097252"/>
            <a:ext cx="6393351" cy="4229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93992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2644BB4-2DB0-44B0-82FD-218F6D6FA4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2644BB4-2DB0-44B0-82FD-218F6D6FA4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BC62DD8-9ED5-44E2-876C-715E7057EB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1.05.2022</a:t>
            </a:r>
            <a:endParaRPr lang="de-DE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B145836-2A25-46BC-A45B-253ECBE06D1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Als </a:t>
            </a:r>
            <a:r>
              <a:rPr lang="de-DE" dirty="0" err="1"/>
              <a:t>bpmn</a:t>
            </a:r>
            <a:r>
              <a:rPr lang="de-DE" dirty="0"/>
              <a:t> speicher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BA6EA6-4628-4E99-A58B-260BE388D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1548135" cy="483960"/>
          </a:xfrm>
        </p:spPr>
        <p:txBody>
          <a:bodyPr vert="horz"/>
          <a:lstStyle/>
          <a:p>
            <a:r>
              <a:rPr lang="de-DE" dirty="0"/>
              <a:t>Beispiel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010C01-4943-F52F-D5EE-FBCCC68EF1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15</a:t>
            </a:fld>
            <a:endParaRPr lang="en-US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D9F8857-CE87-83E5-ECC4-78F3C51803B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3657438" y="2097252"/>
            <a:ext cx="6168070" cy="4229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98334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2644BB4-2DB0-44B0-82FD-218F6D6FA4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2644BB4-2DB0-44B0-82FD-218F6D6FA4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BC62DD8-9ED5-44E2-876C-715E7057EB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1.05.2022</a:t>
            </a:r>
            <a:endParaRPr lang="de-DE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B145836-2A25-46BC-A45B-253ECBE06D1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BPMN Deploy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BA6EA6-4628-4E99-A58B-260BE388D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1548135" cy="483960"/>
          </a:xfrm>
        </p:spPr>
        <p:txBody>
          <a:bodyPr vert="horz"/>
          <a:lstStyle/>
          <a:p>
            <a:r>
              <a:rPr lang="de-DE" dirty="0"/>
              <a:t>Beispiel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010C01-4943-F52F-D5EE-FBCCC68EF1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16</a:t>
            </a:fld>
            <a:endParaRPr lang="en-US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D9F8857-CE87-83E5-ECC4-78F3C51803B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3657438" y="2135419"/>
            <a:ext cx="6168070" cy="4152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42829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2644BB4-2DB0-44B0-82FD-218F6D6FA4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2644BB4-2DB0-44B0-82FD-218F6D6FA4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BC62DD8-9ED5-44E2-876C-715E7057EB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1.05.2022</a:t>
            </a:r>
            <a:endParaRPr lang="de-DE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B145836-2A25-46BC-A45B-253ECBE06D1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BPMN Deployen</a:t>
            </a:r>
          </a:p>
          <a:p>
            <a:pPr lvl="1"/>
            <a:r>
              <a:rPr lang="de-DE" dirty="0" err="1"/>
              <a:t>Camunda</a:t>
            </a:r>
            <a:r>
              <a:rPr lang="de-DE" dirty="0"/>
              <a:t> Cockpi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BA6EA6-4628-4E99-A58B-260BE388D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1548135" cy="483960"/>
          </a:xfrm>
        </p:spPr>
        <p:txBody>
          <a:bodyPr vert="horz"/>
          <a:lstStyle/>
          <a:p>
            <a:r>
              <a:rPr lang="de-DE" dirty="0"/>
              <a:t>Beispiel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010C01-4943-F52F-D5EE-FBCCC68EF1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17</a:t>
            </a:fld>
            <a:endParaRPr lang="en-US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D9F8857-CE87-83E5-ECC4-78F3C51803B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3544798" y="3258352"/>
            <a:ext cx="6393351" cy="1907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57554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2644BB4-2DB0-44B0-82FD-218F6D6FA4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2644BB4-2DB0-44B0-82FD-218F6D6FA4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BC62DD8-9ED5-44E2-876C-715E7057EB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1.05.2022</a:t>
            </a:r>
            <a:endParaRPr lang="de-DE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B145836-2A25-46BC-A45B-253ECBE06D1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BPMN erweitern</a:t>
            </a:r>
          </a:p>
          <a:p>
            <a:pPr lvl="1"/>
            <a:r>
              <a:rPr lang="de-DE" dirty="0"/>
              <a:t>Deutsche IBANs sollen automatisiert geändert werden</a:t>
            </a:r>
          </a:p>
          <a:p>
            <a:pPr lvl="1"/>
            <a:r>
              <a:rPr lang="de-DE" dirty="0"/>
              <a:t>Ausländische IBANs sollen kontrolliert werden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BPMN Erweiterung um „</a:t>
            </a:r>
            <a:r>
              <a:rPr lang="de-DE" dirty="0" err="1"/>
              <a:t>if</a:t>
            </a:r>
            <a:r>
              <a:rPr lang="de-DE" dirty="0"/>
              <a:t>“ und einen „User Task“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BA6EA6-4628-4E99-A58B-260BE388D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1548135" cy="483960"/>
          </a:xfrm>
        </p:spPr>
        <p:txBody>
          <a:bodyPr vert="horz"/>
          <a:lstStyle/>
          <a:p>
            <a:r>
              <a:rPr lang="de-DE" dirty="0"/>
              <a:t>Beispiel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010C01-4943-F52F-D5EE-FBCCC68EF1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040760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2644BB4-2DB0-44B0-82FD-218F6D6FA4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2644BB4-2DB0-44B0-82FD-218F6D6FA4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BC62DD8-9ED5-44E2-876C-715E7057EB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1.05.2022</a:t>
            </a:r>
            <a:endParaRPr lang="de-DE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B145836-2A25-46BC-A45B-253ECBE06D1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BPMN anpass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BA6EA6-4628-4E99-A58B-260BE388D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1548135" cy="483960"/>
          </a:xfrm>
        </p:spPr>
        <p:txBody>
          <a:bodyPr vert="horz"/>
          <a:lstStyle/>
          <a:p>
            <a:r>
              <a:rPr lang="de-DE" dirty="0"/>
              <a:t>Beispiel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010C01-4943-F52F-D5EE-FBCCC68EF1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19</a:t>
            </a:fld>
            <a:endParaRPr lang="en-US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D9F8857-CE87-83E5-ECC4-78F3C51803B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3657438" y="2181826"/>
            <a:ext cx="6168070" cy="4060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11288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C06914F-D1F6-4671-B6AA-6B3489B627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66311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C06914F-D1F6-4671-B6AA-6B3489B627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E6A9FBA-06D1-4A50-A947-7BC13447F7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1.05.2022</a:t>
            </a:r>
            <a:endParaRPr lang="de-DE"/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085DF96E-638A-425C-8996-76C0497DAD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1540056" cy="483960"/>
          </a:xfrm>
        </p:spPr>
        <p:txBody>
          <a:bodyPr vert="horz"/>
          <a:lstStyle/>
          <a:p>
            <a:r>
              <a:rPr lang="de-DE"/>
              <a:t>Agenda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E953C89C-AE65-4FEC-AF86-8388B79C8F0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136188" y="5263575"/>
            <a:ext cx="952500" cy="352425"/>
          </a:xfrm>
          <a:prstGeom prst="rect">
            <a:avLst/>
          </a:prstGeom>
        </p:spPr>
      </p:pic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FA2FCCC8-403D-43DE-9F0B-AAC4D7E34B96}"/>
              </a:ext>
            </a:extLst>
          </p:cNvPr>
          <p:cNvGrpSpPr/>
          <p:nvPr/>
        </p:nvGrpSpPr>
        <p:grpSpPr>
          <a:xfrm>
            <a:off x="431800" y="1763868"/>
            <a:ext cx="7747408" cy="543683"/>
            <a:chOff x="431800" y="1800225"/>
            <a:chExt cx="8207924" cy="576000"/>
          </a:xfrm>
        </p:grpSpPr>
        <p:sp>
          <p:nvSpPr>
            <p:cNvPr id="22" name="TextBox 11">
              <a:extLst>
                <a:ext uri="{FF2B5EF4-FFF2-40B4-BE49-F238E27FC236}">
                  <a16:creationId xmlns:a16="http://schemas.microsoft.com/office/drawing/2014/main" id="{1C4D1706-ADE3-4C3C-AF88-EAA1D135C9C4}"/>
                </a:ext>
              </a:extLst>
            </p:cNvPr>
            <p:cNvSpPr txBox="1">
              <a:spLocks/>
            </p:cNvSpPr>
            <p:nvPr/>
          </p:nvSpPr>
          <p:spPr>
            <a:xfrm>
              <a:off x="1079724" y="1800225"/>
              <a:ext cx="7560000" cy="576000"/>
            </a:xfrm>
            <a:custGeom>
              <a:avLst/>
              <a:gdLst>
                <a:gd name="connsiteX0" fmla="*/ 0 w 7560000"/>
                <a:gd name="connsiteY0" fmla="*/ 0 h 576000"/>
                <a:gd name="connsiteX1" fmla="*/ 7560000 w 7560000"/>
                <a:gd name="connsiteY1" fmla="*/ 0 h 576000"/>
                <a:gd name="connsiteX2" fmla="*/ 7560000 w 7560000"/>
                <a:gd name="connsiteY2" fmla="*/ 270531 h 576000"/>
                <a:gd name="connsiteX3" fmla="*/ 7559999 w 7560000"/>
                <a:gd name="connsiteY3" fmla="*/ 270530 h 576000"/>
                <a:gd name="connsiteX4" fmla="*/ 7254529 w 7560000"/>
                <a:gd name="connsiteY4" fmla="*/ 576000 h 576000"/>
                <a:gd name="connsiteX5" fmla="*/ 0 w 7560000"/>
                <a:gd name="connsiteY5" fmla="*/ 576000 h 57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560000" h="576000">
                  <a:moveTo>
                    <a:pt x="0" y="0"/>
                  </a:moveTo>
                  <a:lnTo>
                    <a:pt x="7560000" y="0"/>
                  </a:lnTo>
                  <a:lnTo>
                    <a:pt x="7560000" y="270531"/>
                  </a:lnTo>
                  <a:lnTo>
                    <a:pt x="7559999" y="270530"/>
                  </a:lnTo>
                  <a:lnTo>
                    <a:pt x="7254529" y="576000"/>
                  </a:lnTo>
                  <a:lnTo>
                    <a:pt x="0" y="576000"/>
                  </a:lnTo>
                  <a:close/>
                </a:path>
              </a:pathLst>
            </a:custGeom>
            <a:solidFill>
              <a:schemeClr val="accent3"/>
            </a:solidFill>
          </p:spPr>
          <p:txBody>
            <a:bodyPr wrap="square" lIns="180000" rIns="180000" anchor="ctr" anchorCtr="0">
              <a:noAutofit/>
            </a:bodyPr>
            <a:lstStyle>
              <a:lvl1pPr marL="0" indent="0" algn="ctr" defTabSz="864017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lang="en-US" sz="2200" b="1" kern="1200" cap="all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32008" indent="0" algn="l" defTabSz="864017" rtl="0" eaLnBrk="1" latinLnBrk="0" hangingPunct="1">
                <a:lnSpc>
                  <a:spcPts val="24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None/>
                <a:defRPr sz="189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indent="0" algn="l" defTabSz="864017" rtl="0" eaLnBrk="1" latinLnBrk="0" hangingPunct="1">
                <a:lnSpc>
                  <a:spcPts val="2400"/>
                </a:lnSpc>
                <a:spcBef>
                  <a:spcPts val="0"/>
                </a:spcBef>
                <a:buFont typeface="Open Sans" panose="020B0606030504020204" pitchFamily="34" charset="0"/>
                <a:buNone/>
                <a:defRPr lang="en-US" sz="1701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indent="0" algn="l" defTabSz="864017" rtl="0" eaLnBrk="1" latinLnBrk="0" hangingPunct="1">
                <a:lnSpc>
                  <a:spcPts val="24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None/>
                <a:defRPr sz="1512" b="1" kern="1200">
                  <a:solidFill>
                    <a:schemeClr val="accent1"/>
                  </a:solidFill>
                  <a:latin typeface="+mj-lt"/>
                  <a:ea typeface="+mn-ea"/>
                  <a:cs typeface="+mn-cs"/>
                </a:defRPr>
              </a:lvl4pPr>
              <a:lvl5pPr marL="1728033" indent="0" algn="l" defTabSz="864017" rtl="0" eaLnBrk="1" latinLnBrk="0" hangingPunct="1">
                <a:lnSpc>
                  <a:spcPts val="1200"/>
                </a:lnSpc>
                <a:spcBef>
                  <a:spcPts val="0"/>
                </a:spcBef>
                <a:buFont typeface="Open Sans" panose="020B0606030504020204" pitchFamily="34" charset="0"/>
                <a:buNone/>
                <a:defRPr lang="en-US" sz="1512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160041" indent="0" algn="l" defTabSz="864017" rtl="0" eaLnBrk="1" latinLnBrk="0" hangingPunct="1">
                <a:lnSpc>
                  <a:spcPts val="2400"/>
                </a:lnSpc>
                <a:spcBef>
                  <a:spcPts val="600"/>
                </a:spcBef>
                <a:buFontTx/>
                <a:buNone/>
                <a:defRPr sz="1512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2592050" indent="0" algn="l" defTabSz="864017" rtl="0" eaLnBrk="1" latinLnBrk="0" hangingPunct="1">
                <a:spcBef>
                  <a:spcPts val="0"/>
                </a:spcBef>
                <a:buFont typeface="Arial" panose="020B0604020202020204" pitchFamily="34" charset="0"/>
                <a:buNone/>
                <a:defRPr sz="1512" b="1" i="0" kern="1200">
                  <a:solidFill>
                    <a:srgbClr val="FF0000"/>
                  </a:solidFill>
                  <a:latin typeface="+mn-lt"/>
                  <a:ea typeface="+mn-ea"/>
                  <a:cs typeface="+mn-cs"/>
                </a:defRPr>
              </a:lvl7pPr>
              <a:lvl8pPr marL="3024058" indent="0" algn="l" defTabSz="864017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512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indent="0" algn="l" defTabSz="864017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512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 sz="2400" b="0" cap="none" dirty="0"/>
                <a:t>Setup</a:t>
              </a:r>
            </a:p>
          </p:txBody>
        </p:sp>
        <p:sp>
          <p:nvSpPr>
            <p:cNvPr id="29" name="TextBox 5">
              <a:extLst>
                <a:ext uri="{FF2B5EF4-FFF2-40B4-BE49-F238E27FC236}">
                  <a16:creationId xmlns:a16="http://schemas.microsoft.com/office/drawing/2014/main" id="{8E0C4369-E28A-4F00-B51B-32336A1DAABA}"/>
                </a:ext>
              </a:extLst>
            </p:cNvPr>
            <p:cNvSpPr txBox="1"/>
            <p:nvPr/>
          </p:nvSpPr>
          <p:spPr>
            <a:xfrm>
              <a:off x="431800" y="1800225"/>
              <a:ext cx="576000" cy="57600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/>
              <a:r>
                <a:rPr lang="de-DE" sz="2400" b="1">
                  <a:solidFill>
                    <a:schemeClr val="bg1"/>
                  </a:solidFill>
                </a:rPr>
                <a:t>2</a:t>
              </a:r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60532CEE-E955-45ED-A405-BB462F88C3FB}"/>
              </a:ext>
            </a:extLst>
          </p:cNvPr>
          <p:cNvGrpSpPr/>
          <p:nvPr/>
        </p:nvGrpSpPr>
        <p:grpSpPr>
          <a:xfrm>
            <a:off x="431800" y="2375299"/>
            <a:ext cx="7747408" cy="543683"/>
            <a:chOff x="431800" y="2448000"/>
            <a:chExt cx="8207924" cy="576000"/>
          </a:xfrm>
        </p:grpSpPr>
        <p:sp>
          <p:nvSpPr>
            <p:cNvPr id="31" name="TextBox 12">
              <a:extLst>
                <a:ext uri="{FF2B5EF4-FFF2-40B4-BE49-F238E27FC236}">
                  <a16:creationId xmlns:a16="http://schemas.microsoft.com/office/drawing/2014/main" id="{E639575B-292D-4085-B9B8-0DDB16F5D678}"/>
                </a:ext>
              </a:extLst>
            </p:cNvPr>
            <p:cNvSpPr txBox="1">
              <a:spLocks/>
            </p:cNvSpPr>
            <p:nvPr/>
          </p:nvSpPr>
          <p:spPr>
            <a:xfrm>
              <a:off x="1079724" y="2448000"/>
              <a:ext cx="7560000" cy="576000"/>
            </a:xfrm>
            <a:custGeom>
              <a:avLst/>
              <a:gdLst>
                <a:gd name="connsiteX0" fmla="*/ 0 w 7560000"/>
                <a:gd name="connsiteY0" fmla="*/ 0 h 576000"/>
                <a:gd name="connsiteX1" fmla="*/ 7560000 w 7560000"/>
                <a:gd name="connsiteY1" fmla="*/ 0 h 576000"/>
                <a:gd name="connsiteX2" fmla="*/ 7560000 w 7560000"/>
                <a:gd name="connsiteY2" fmla="*/ 270531 h 576000"/>
                <a:gd name="connsiteX3" fmla="*/ 7559999 w 7560000"/>
                <a:gd name="connsiteY3" fmla="*/ 270530 h 576000"/>
                <a:gd name="connsiteX4" fmla="*/ 7254529 w 7560000"/>
                <a:gd name="connsiteY4" fmla="*/ 576000 h 576000"/>
                <a:gd name="connsiteX5" fmla="*/ 0 w 7560000"/>
                <a:gd name="connsiteY5" fmla="*/ 576000 h 57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560000" h="576000">
                  <a:moveTo>
                    <a:pt x="0" y="0"/>
                  </a:moveTo>
                  <a:lnTo>
                    <a:pt x="7560000" y="0"/>
                  </a:lnTo>
                  <a:lnTo>
                    <a:pt x="7560000" y="270531"/>
                  </a:lnTo>
                  <a:lnTo>
                    <a:pt x="7559999" y="270530"/>
                  </a:lnTo>
                  <a:lnTo>
                    <a:pt x="7254529" y="576000"/>
                  </a:lnTo>
                  <a:lnTo>
                    <a:pt x="0" y="576000"/>
                  </a:lnTo>
                  <a:close/>
                </a:path>
              </a:pathLst>
            </a:custGeom>
            <a:solidFill>
              <a:schemeClr val="accent3"/>
            </a:solidFill>
          </p:spPr>
          <p:txBody>
            <a:bodyPr wrap="square" lIns="180000" rIns="180000" anchor="ctr" anchorCtr="0">
              <a:noAutofit/>
            </a:bodyPr>
            <a:lstStyle>
              <a:lvl1pPr marL="0" indent="0" algn="ctr" defTabSz="864017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lang="en-US" sz="2200" b="1" kern="1200" cap="all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32008" indent="0" algn="l" defTabSz="864017" rtl="0" eaLnBrk="1" latinLnBrk="0" hangingPunct="1">
                <a:lnSpc>
                  <a:spcPts val="24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None/>
                <a:defRPr sz="189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indent="0" algn="l" defTabSz="864017" rtl="0" eaLnBrk="1" latinLnBrk="0" hangingPunct="1">
                <a:lnSpc>
                  <a:spcPts val="2400"/>
                </a:lnSpc>
                <a:spcBef>
                  <a:spcPts val="0"/>
                </a:spcBef>
                <a:buFont typeface="Open Sans" panose="020B0606030504020204" pitchFamily="34" charset="0"/>
                <a:buNone/>
                <a:defRPr lang="en-US" sz="1701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indent="0" algn="l" defTabSz="864017" rtl="0" eaLnBrk="1" latinLnBrk="0" hangingPunct="1">
                <a:lnSpc>
                  <a:spcPts val="24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None/>
                <a:defRPr sz="1512" b="1" kern="1200">
                  <a:solidFill>
                    <a:schemeClr val="accent1"/>
                  </a:solidFill>
                  <a:latin typeface="+mj-lt"/>
                  <a:ea typeface="+mn-ea"/>
                  <a:cs typeface="+mn-cs"/>
                </a:defRPr>
              </a:lvl4pPr>
              <a:lvl5pPr marL="1728033" indent="0" algn="l" defTabSz="864017" rtl="0" eaLnBrk="1" latinLnBrk="0" hangingPunct="1">
                <a:lnSpc>
                  <a:spcPts val="1200"/>
                </a:lnSpc>
                <a:spcBef>
                  <a:spcPts val="0"/>
                </a:spcBef>
                <a:buFont typeface="Open Sans" panose="020B0606030504020204" pitchFamily="34" charset="0"/>
                <a:buNone/>
                <a:defRPr lang="en-US" sz="1512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160041" indent="0" algn="l" defTabSz="864017" rtl="0" eaLnBrk="1" latinLnBrk="0" hangingPunct="1">
                <a:lnSpc>
                  <a:spcPts val="2400"/>
                </a:lnSpc>
                <a:spcBef>
                  <a:spcPts val="600"/>
                </a:spcBef>
                <a:buFontTx/>
                <a:buNone/>
                <a:defRPr sz="1512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2592050" indent="0" algn="l" defTabSz="864017" rtl="0" eaLnBrk="1" latinLnBrk="0" hangingPunct="1">
                <a:spcBef>
                  <a:spcPts val="0"/>
                </a:spcBef>
                <a:buFont typeface="Arial" panose="020B0604020202020204" pitchFamily="34" charset="0"/>
                <a:buNone/>
                <a:defRPr sz="1512" b="1" i="0" kern="1200">
                  <a:solidFill>
                    <a:srgbClr val="FF0000"/>
                  </a:solidFill>
                  <a:latin typeface="+mn-lt"/>
                  <a:ea typeface="+mn-ea"/>
                  <a:cs typeface="+mn-cs"/>
                </a:defRPr>
              </a:lvl7pPr>
              <a:lvl8pPr marL="3024058" indent="0" algn="l" defTabSz="864017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512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indent="0" algn="l" defTabSz="864017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512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 sz="2400" b="0" cap="none" dirty="0" err="1"/>
                <a:t>Beispiel</a:t>
              </a:r>
              <a:endParaRPr lang="en-US" sz="2400" b="0" cap="none" dirty="0"/>
            </a:p>
          </p:txBody>
        </p:sp>
        <p:sp>
          <p:nvSpPr>
            <p:cNvPr id="32" name="TextBox 13">
              <a:extLst>
                <a:ext uri="{FF2B5EF4-FFF2-40B4-BE49-F238E27FC236}">
                  <a16:creationId xmlns:a16="http://schemas.microsoft.com/office/drawing/2014/main" id="{4B13E27A-52D2-4234-B1C5-D17593E1856D}"/>
                </a:ext>
              </a:extLst>
            </p:cNvPr>
            <p:cNvSpPr txBox="1"/>
            <p:nvPr/>
          </p:nvSpPr>
          <p:spPr>
            <a:xfrm>
              <a:off x="431800" y="2448000"/>
              <a:ext cx="576000" cy="57600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/>
              <a:r>
                <a:rPr lang="de-DE" sz="2400" b="1">
                  <a:solidFill>
                    <a:schemeClr val="bg1"/>
                  </a:solidFill>
                </a:rPr>
                <a:t>3</a:t>
              </a:r>
            </a:p>
          </p:txBody>
        </p:sp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591F44F5-2AF7-4183-A667-896260A57702}"/>
              </a:ext>
            </a:extLst>
          </p:cNvPr>
          <p:cNvGrpSpPr/>
          <p:nvPr/>
        </p:nvGrpSpPr>
        <p:grpSpPr>
          <a:xfrm>
            <a:off x="431800" y="2986942"/>
            <a:ext cx="7747408" cy="543683"/>
            <a:chOff x="431800" y="3096000"/>
            <a:chExt cx="8207924" cy="576000"/>
          </a:xfrm>
        </p:grpSpPr>
        <p:sp>
          <p:nvSpPr>
            <p:cNvPr id="34" name="TextBox 14">
              <a:extLst>
                <a:ext uri="{FF2B5EF4-FFF2-40B4-BE49-F238E27FC236}">
                  <a16:creationId xmlns:a16="http://schemas.microsoft.com/office/drawing/2014/main" id="{9EA56ECD-46DA-46F4-BC73-89EC506B8309}"/>
                </a:ext>
              </a:extLst>
            </p:cNvPr>
            <p:cNvSpPr txBox="1">
              <a:spLocks/>
            </p:cNvSpPr>
            <p:nvPr/>
          </p:nvSpPr>
          <p:spPr>
            <a:xfrm>
              <a:off x="1079724" y="3096000"/>
              <a:ext cx="7560000" cy="576000"/>
            </a:xfrm>
            <a:custGeom>
              <a:avLst/>
              <a:gdLst>
                <a:gd name="connsiteX0" fmla="*/ 0 w 7560000"/>
                <a:gd name="connsiteY0" fmla="*/ 0 h 576000"/>
                <a:gd name="connsiteX1" fmla="*/ 7560000 w 7560000"/>
                <a:gd name="connsiteY1" fmla="*/ 0 h 576000"/>
                <a:gd name="connsiteX2" fmla="*/ 7560000 w 7560000"/>
                <a:gd name="connsiteY2" fmla="*/ 270531 h 576000"/>
                <a:gd name="connsiteX3" fmla="*/ 7559999 w 7560000"/>
                <a:gd name="connsiteY3" fmla="*/ 270530 h 576000"/>
                <a:gd name="connsiteX4" fmla="*/ 7254529 w 7560000"/>
                <a:gd name="connsiteY4" fmla="*/ 576000 h 576000"/>
                <a:gd name="connsiteX5" fmla="*/ 0 w 7560000"/>
                <a:gd name="connsiteY5" fmla="*/ 576000 h 57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560000" h="576000">
                  <a:moveTo>
                    <a:pt x="0" y="0"/>
                  </a:moveTo>
                  <a:lnTo>
                    <a:pt x="7560000" y="0"/>
                  </a:lnTo>
                  <a:lnTo>
                    <a:pt x="7560000" y="270531"/>
                  </a:lnTo>
                  <a:lnTo>
                    <a:pt x="7559999" y="270530"/>
                  </a:lnTo>
                  <a:lnTo>
                    <a:pt x="7254529" y="576000"/>
                  </a:lnTo>
                  <a:lnTo>
                    <a:pt x="0" y="576000"/>
                  </a:lnTo>
                  <a:close/>
                </a:path>
              </a:pathLst>
            </a:custGeom>
            <a:solidFill>
              <a:schemeClr val="accent3"/>
            </a:solidFill>
          </p:spPr>
          <p:txBody>
            <a:bodyPr wrap="square" lIns="180000" rIns="180000" anchor="ctr" anchorCtr="0">
              <a:noAutofit/>
            </a:bodyPr>
            <a:lstStyle>
              <a:lvl1pPr marL="0" indent="0" algn="ctr" defTabSz="864017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lang="en-US" sz="2200" b="1" kern="1200" cap="all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32008" indent="0" algn="l" defTabSz="864017" rtl="0" eaLnBrk="1" latinLnBrk="0" hangingPunct="1">
                <a:lnSpc>
                  <a:spcPts val="24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None/>
                <a:defRPr sz="189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indent="0" algn="l" defTabSz="864017" rtl="0" eaLnBrk="1" latinLnBrk="0" hangingPunct="1">
                <a:lnSpc>
                  <a:spcPts val="2400"/>
                </a:lnSpc>
                <a:spcBef>
                  <a:spcPts val="0"/>
                </a:spcBef>
                <a:buFont typeface="Open Sans" panose="020B0606030504020204" pitchFamily="34" charset="0"/>
                <a:buNone/>
                <a:defRPr lang="en-US" sz="1701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indent="0" algn="l" defTabSz="864017" rtl="0" eaLnBrk="1" latinLnBrk="0" hangingPunct="1">
                <a:lnSpc>
                  <a:spcPts val="24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None/>
                <a:defRPr sz="1512" b="1" kern="1200">
                  <a:solidFill>
                    <a:schemeClr val="accent1"/>
                  </a:solidFill>
                  <a:latin typeface="+mj-lt"/>
                  <a:ea typeface="+mn-ea"/>
                  <a:cs typeface="+mn-cs"/>
                </a:defRPr>
              </a:lvl4pPr>
              <a:lvl5pPr marL="1728033" indent="0" algn="l" defTabSz="864017" rtl="0" eaLnBrk="1" latinLnBrk="0" hangingPunct="1">
                <a:lnSpc>
                  <a:spcPts val="1200"/>
                </a:lnSpc>
                <a:spcBef>
                  <a:spcPts val="0"/>
                </a:spcBef>
                <a:buFont typeface="Open Sans" panose="020B0606030504020204" pitchFamily="34" charset="0"/>
                <a:buNone/>
                <a:defRPr lang="en-US" sz="1512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160041" indent="0" algn="l" defTabSz="864017" rtl="0" eaLnBrk="1" latinLnBrk="0" hangingPunct="1">
                <a:lnSpc>
                  <a:spcPts val="2400"/>
                </a:lnSpc>
                <a:spcBef>
                  <a:spcPts val="600"/>
                </a:spcBef>
                <a:buFontTx/>
                <a:buNone/>
                <a:defRPr sz="1512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2592050" indent="0" algn="l" defTabSz="864017" rtl="0" eaLnBrk="1" latinLnBrk="0" hangingPunct="1">
                <a:spcBef>
                  <a:spcPts val="0"/>
                </a:spcBef>
                <a:buFont typeface="Arial" panose="020B0604020202020204" pitchFamily="34" charset="0"/>
                <a:buNone/>
                <a:defRPr sz="1512" b="1" i="0" kern="1200">
                  <a:solidFill>
                    <a:srgbClr val="FF0000"/>
                  </a:solidFill>
                  <a:latin typeface="+mn-lt"/>
                  <a:ea typeface="+mn-ea"/>
                  <a:cs typeface="+mn-cs"/>
                </a:defRPr>
              </a:lvl7pPr>
              <a:lvl8pPr marL="3024058" indent="0" algn="l" defTabSz="864017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512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indent="0" algn="l" defTabSz="864017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512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 sz="2400" b="0" cap="none" dirty="0" err="1"/>
                <a:t>Kunden</a:t>
              </a:r>
              <a:r>
                <a:rPr lang="en-US" sz="2400" b="0" cap="none" dirty="0"/>
                <a:t> </a:t>
              </a:r>
              <a:r>
                <a:rPr lang="en-US" sz="2400" b="0" cap="none" dirty="0" err="1"/>
                <a:t>Anwendung</a:t>
              </a:r>
              <a:endParaRPr lang="en-US" sz="2400" b="0" cap="none" dirty="0"/>
            </a:p>
          </p:txBody>
        </p:sp>
        <p:sp>
          <p:nvSpPr>
            <p:cNvPr id="37" name="TextBox 15">
              <a:extLst>
                <a:ext uri="{FF2B5EF4-FFF2-40B4-BE49-F238E27FC236}">
                  <a16:creationId xmlns:a16="http://schemas.microsoft.com/office/drawing/2014/main" id="{DB93385E-221E-4A62-B0D7-01758B25E02E}"/>
                </a:ext>
              </a:extLst>
            </p:cNvPr>
            <p:cNvSpPr txBox="1"/>
            <p:nvPr/>
          </p:nvSpPr>
          <p:spPr>
            <a:xfrm>
              <a:off x="431800" y="3096000"/>
              <a:ext cx="576000" cy="57600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/>
              <a:r>
                <a:rPr lang="de-DE" sz="2400" b="1">
                  <a:solidFill>
                    <a:schemeClr val="bg1"/>
                  </a:solidFill>
                </a:rPr>
                <a:t>4</a:t>
              </a:r>
            </a:p>
          </p:txBody>
        </p: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7B0C8F82-7809-4732-938A-71AEB9CAF2FF}"/>
              </a:ext>
            </a:extLst>
          </p:cNvPr>
          <p:cNvGrpSpPr/>
          <p:nvPr/>
        </p:nvGrpSpPr>
        <p:grpSpPr>
          <a:xfrm>
            <a:off x="431800" y="1152225"/>
            <a:ext cx="7747408" cy="543683"/>
            <a:chOff x="431800" y="1152225"/>
            <a:chExt cx="8207924" cy="576000"/>
          </a:xfrm>
        </p:grpSpPr>
        <p:sp>
          <p:nvSpPr>
            <p:cNvPr id="45" name="TextBox 11">
              <a:extLst>
                <a:ext uri="{FF2B5EF4-FFF2-40B4-BE49-F238E27FC236}">
                  <a16:creationId xmlns:a16="http://schemas.microsoft.com/office/drawing/2014/main" id="{0CB5F8EB-174C-4EA3-BEDE-CF117FCA994C}"/>
                </a:ext>
              </a:extLst>
            </p:cNvPr>
            <p:cNvSpPr txBox="1">
              <a:spLocks/>
            </p:cNvSpPr>
            <p:nvPr/>
          </p:nvSpPr>
          <p:spPr>
            <a:xfrm>
              <a:off x="1079724" y="1152225"/>
              <a:ext cx="7560000" cy="576000"/>
            </a:xfrm>
            <a:custGeom>
              <a:avLst/>
              <a:gdLst>
                <a:gd name="connsiteX0" fmla="*/ 0 w 7560000"/>
                <a:gd name="connsiteY0" fmla="*/ 0 h 576000"/>
                <a:gd name="connsiteX1" fmla="*/ 7560000 w 7560000"/>
                <a:gd name="connsiteY1" fmla="*/ 0 h 576000"/>
                <a:gd name="connsiteX2" fmla="*/ 7560000 w 7560000"/>
                <a:gd name="connsiteY2" fmla="*/ 270531 h 576000"/>
                <a:gd name="connsiteX3" fmla="*/ 7559999 w 7560000"/>
                <a:gd name="connsiteY3" fmla="*/ 270530 h 576000"/>
                <a:gd name="connsiteX4" fmla="*/ 7254529 w 7560000"/>
                <a:gd name="connsiteY4" fmla="*/ 576000 h 576000"/>
                <a:gd name="connsiteX5" fmla="*/ 0 w 7560000"/>
                <a:gd name="connsiteY5" fmla="*/ 576000 h 57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560000" h="576000">
                  <a:moveTo>
                    <a:pt x="0" y="0"/>
                  </a:moveTo>
                  <a:lnTo>
                    <a:pt x="7560000" y="0"/>
                  </a:lnTo>
                  <a:lnTo>
                    <a:pt x="7560000" y="270531"/>
                  </a:lnTo>
                  <a:lnTo>
                    <a:pt x="7559999" y="270530"/>
                  </a:lnTo>
                  <a:lnTo>
                    <a:pt x="7254529" y="576000"/>
                  </a:lnTo>
                  <a:lnTo>
                    <a:pt x="0" y="576000"/>
                  </a:lnTo>
                  <a:close/>
                </a:path>
              </a:pathLst>
            </a:custGeom>
            <a:solidFill>
              <a:schemeClr val="accent3"/>
            </a:solidFill>
          </p:spPr>
          <p:txBody>
            <a:bodyPr wrap="square" lIns="180000" rIns="180000" anchor="ctr" anchorCtr="0">
              <a:noAutofit/>
            </a:bodyPr>
            <a:lstStyle>
              <a:lvl1pPr marL="0" indent="0" algn="ctr" defTabSz="864017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lang="en-US" sz="2200" b="1" kern="1200" cap="all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32008" indent="0" algn="l" defTabSz="864017" rtl="0" eaLnBrk="1" latinLnBrk="0" hangingPunct="1">
                <a:lnSpc>
                  <a:spcPts val="24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None/>
                <a:defRPr sz="189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indent="0" algn="l" defTabSz="864017" rtl="0" eaLnBrk="1" latinLnBrk="0" hangingPunct="1">
                <a:lnSpc>
                  <a:spcPts val="2400"/>
                </a:lnSpc>
                <a:spcBef>
                  <a:spcPts val="0"/>
                </a:spcBef>
                <a:buFont typeface="Open Sans" panose="020B0606030504020204" pitchFamily="34" charset="0"/>
                <a:buNone/>
                <a:defRPr lang="en-US" sz="1701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indent="0" algn="l" defTabSz="864017" rtl="0" eaLnBrk="1" latinLnBrk="0" hangingPunct="1">
                <a:lnSpc>
                  <a:spcPts val="24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None/>
                <a:defRPr sz="1512" b="1" kern="1200">
                  <a:solidFill>
                    <a:schemeClr val="accent1"/>
                  </a:solidFill>
                  <a:latin typeface="+mj-lt"/>
                  <a:ea typeface="+mn-ea"/>
                  <a:cs typeface="+mn-cs"/>
                </a:defRPr>
              </a:lvl4pPr>
              <a:lvl5pPr marL="1728033" indent="0" algn="l" defTabSz="864017" rtl="0" eaLnBrk="1" latinLnBrk="0" hangingPunct="1">
                <a:lnSpc>
                  <a:spcPts val="1200"/>
                </a:lnSpc>
                <a:spcBef>
                  <a:spcPts val="0"/>
                </a:spcBef>
                <a:buFont typeface="Open Sans" panose="020B0606030504020204" pitchFamily="34" charset="0"/>
                <a:buNone/>
                <a:defRPr lang="en-US" sz="1512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160041" indent="0" algn="l" defTabSz="864017" rtl="0" eaLnBrk="1" latinLnBrk="0" hangingPunct="1">
                <a:lnSpc>
                  <a:spcPts val="2400"/>
                </a:lnSpc>
                <a:spcBef>
                  <a:spcPts val="600"/>
                </a:spcBef>
                <a:buFontTx/>
                <a:buNone/>
                <a:defRPr sz="1512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2592050" indent="0" algn="l" defTabSz="864017" rtl="0" eaLnBrk="1" latinLnBrk="0" hangingPunct="1">
                <a:spcBef>
                  <a:spcPts val="0"/>
                </a:spcBef>
                <a:buFont typeface="Arial" panose="020B0604020202020204" pitchFamily="34" charset="0"/>
                <a:buNone/>
                <a:defRPr sz="1512" b="1" i="0" kern="1200">
                  <a:solidFill>
                    <a:srgbClr val="FF0000"/>
                  </a:solidFill>
                  <a:latin typeface="+mn-lt"/>
                  <a:ea typeface="+mn-ea"/>
                  <a:cs typeface="+mn-cs"/>
                </a:defRPr>
              </a:lvl7pPr>
              <a:lvl8pPr marL="3024058" indent="0" algn="l" defTabSz="864017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512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indent="0" algn="l" defTabSz="864017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512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 sz="2400" b="0" cap="none" dirty="0" err="1"/>
                <a:t>Generelle</a:t>
              </a:r>
              <a:r>
                <a:rPr lang="en-US" sz="2400" b="0" cap="none" dirty="0"/>
                <a:t> </a:t>
              </a:r>
              <a:r>
                <a:rPr lang="en-US" sz="2400" b="0" cap="none" dirty="0" err="1"/>
                <a:t>Informationen</a:t>
              </a:r>
              <a:endParaRPr lang="en-US" sz="2400" b="0" cap="none" dirty="0"/>
            </a:p>
          </p:txBody>
        </p:sp>
        <p:sp>
          <p:nvSpPr>
            <p:cNvPr id="46" name="TextBox 5">
              <a:extLst>
                <a:ext uri="{FF2B5EF4-FFF2-40B4-BE49-F238E27FC236}">
                  <a16:creationId xmlns:a16="http://schemas.microsoft.com/office/drawing/2014/main" id="{009953D1-42FB-43C3-8AFF-07B0CDF5C0C0}"/>
                </a:ext>
              </a:extLst>
            </p:cNvPr>
            <p:cNvSpPr txBox="1"/>
            <p:nvPr/>
          </p:nvSpPr>
          <p:spPr>
            <a:xfrm>
              <a:off x="431800" y="1152225"/>
              <a:ext cx="576000" cy="57600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/>
              <a:r>
                <a:rPr lang="de-DE" sz="2400" b="1">
                  <a:solidFill>
                    <a:schemeClr val="bg1"/>
                  </a:solidFill>
                </a:rPr>
                <a:t>1</a:t>
              </a:r>
            </a:p>
          </p:txBody>
        </p:sp>
      </p:grp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6D16139-0ED2-26F3-048E-82ECDE69FA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179569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2644BB4-2DB0-44B0-82FD-218F6D6FA4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2644BB4-2DB0-44B0-82FD-218F6D6FA4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BC62DD8-9ED5-44E2-876C-715E7057EB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1.05.2022</a:t>
            </a:r>
            <a:endParaRPr lang="de-DE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B145836-2A25-46BC-A45B-253ECBE06D1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BPMN anpassen</a:t>
            </a:r>
          </a:p>
          <a:p>
            <a:pPr lvl="1"/>
            <a:r>
              <a:rPr lang="de-DE" dirty="0" err="1"/>
              <a:t>Assignee</a:t>
            </a:r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BA6EA6-4628-4E99-A58B-260BE388D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1548135" cy="483960"/>
          </a:xfrm>
        </p:spPr>
        <p:txBody>
          <a:bodyPr vert="horz"/>
          <a:lstStyle/>
          <a:p>
            <a:r>
              <a:rPr lang="de-DE" dirty="0"/>
              <a:t>Beispiel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010C01-4943-F52F-D5EE-FBCCC68EF1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20</a:t>
            </a:fld>
            <a:endParaRPr lang="en-US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D9F8857-CE87-83E5-ECC4-78F3C51803B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3544962" y="2097252"/>
            <a:ext cx="6393022" cy="4229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25322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2644BB4-2DB0-44B0-82FD-218F6D6FA4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2644BB4-2DB0-44B0-82FD-218F6D6FA4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BC62DD8-9ED5-44E2-876C-715E7057EB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1.05.2022</a:t>
            </a:r>
            <a:endParaRPr lang="de-DE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B145836-2A25-46BC-A45B-253ECBE06D1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BPMN anpassen</a:t>
            </a:r>
          </a:p>
          <a:p>
            <a:pPr lvl="1"/>
            <a:r>
              <a:rPr lang="de-DE" dirty="0" err="1"/>
              <a:t>Camunda</a:t>
            </a:r>
            <a:r>
              <a:rPr lang="de-DE" dirty="0"/>
              <a:t> Forms</a:t>
            </a:r>
          </a:p>
          <a:p>
            <a:pPr lvl="1"/>
            <a:r>
              <a:rPr lang="de-DE" dirty="0"/>
              <a:t>Reference</a:t>
            </a:r>
          </a:p>
          <a:p>
            <a:pPr lvl="1"/>
            <a:r>
              <a:rPr lang="de-DE" dirty="0"/>
              <a:t>Bind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BA6EA6-4628-4E99-A58B-260BE388D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1548135" cy="483960"/>
          </a:xfrm>
        </p:spPr>
        <p:txBody>
          <a:bodyPr vert="horz"/>
          <a:lstStyle/>
          <a:p>
            <a:r>
              <a:rPr lang="de-DE" dirty="0"/>
              <a:t>Beispiel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010C01-4943-F52F-D5EE-FBCCC68EF1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21</a:t>
            </a:fld>
            <a:endParaRPr lang="en-US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D9F8857-CE87-83E5-ECC4-78F3C51803B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3544962" y="2106676"/>
            <a:ext cx="6393022" cy="4210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314607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2644BB4-2DB0-44B0-82FD-218F6D6FA4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2644BB4-2DB0-44B0-82FD-218F6D6FA4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BC62DD8-9ED5-44E2-876C-715E7057EB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1.05.2022</a:t>
            </a:r>
            <a:endParaRPr lang="de-DE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B145836-2A25-46BC-A45B-253ECBE06D1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Forms erstellen</a:t>
            </a:r>
          </a:p>
          <a:p>
            <a:pPr lvl="1"/>
            <a:r>
              <a:rPr lang="de-DE" dirty="0"/>
              <a:t>Text </a:t>
            </a:r>
            <a:r>
              <a:rPr lang="de-DE" dirty="0" err="1"/>
              <a:t>field</a:t>
            </a:r>
            <a:endParaRPr lang="de-DE" dirty="0"/>
          </a:p>
          <a:p>
            <a:pPr lvl="1"/>
            <a:r>
              <a:rPr lang="de-DE" dirty="0"/>
              <a:t>Label</a:t>
            </a:r>
          </a:p>
          <a:p>
            <a:pPr lvl="1"/>
            <a:r>
              <a:rPr lang="de-DE" dirty="0"/>
              <a:t>Ke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BA6EA6-4628-4E99-A58B-260BE388D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1548135" cy="483960"/>
          </a:xfrm>
        </p:spPr>
        <p:txBody>
          <a:bodyPr vert="horz"/>
          <a:lstStyle/>
          <a:p>
            <a:r>
              <a:rPr lang="de-DE" dirty="0"/>
              <a:t>Beispiel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010C01-4943-F52F-D5EE-FBCCC68EF1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22</a:t>
            </a:fld>
            <a:endParaRPr lang="en-US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D9F8857-CE87-83E5-ECC4-78F3C51803B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3562774" y="2106676"/>
            <a:ext cx="6357397" cy="4210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775481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2644BB4-2DB0-44B0-82FD-218F6D6FA4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2644BB4-2DB0-44B0-82FD-218F6D6FA4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BC62DD8-9ED5-44E2-876C-715E7057EB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1.05.2022</a:t>
            </a:r>
            <a:endParaRPr lang="de-DE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B145836-2A25-46BC-A45B-253ECBE06D1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Forms erstellen</a:t>
            </a:r>
          </a:p>
          <a:p>
            <a:pPr lvl="1"/>
            <a:r>
              <a:rPr lang="de-DE" dirty="0"/>
              <a:t>Checkbox</a:t>
            </a:r>
          </a:p>
          <a:p>
            <a:pPr lvl="1"/>
            <a:r>
              <a:rPr lang="de-DE" dirty="0"/>
              <a:t>Label</a:t>
            </a:r>
          </a:p>
          <a:p>
            <a:pPr lvl="1"/>
            <a:r>
              <a:rPr lang="de-DE" dirty="0"/>
              <a:t>Ke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BA6EA6-4628-4E99-A58B-260BE388D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1548135" cy="483960"/>
          </a:xfrm>
        </p:spPr>
        <p:txBody>
          <a:bodyPr vert="horz"/>
          <a:lstStyle/>
          <a:p>
            <a:r>
              <a:rPr lang="de-DE" dirty="0"/>
              <a:t>Beispiel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010C01-4943-F52F-D5EE-FBCCC68EF1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23</a:t>
            </a:fld>
            <a:endParaRPr lang="en-US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D9F8857-CE87-83E5-ECC4-78F3C51803B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3562774" y="2124103"/>
            <a:ext cx="6357397" cy="4175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463366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2644BB4-2DB0-44B0-82FD-218F6D6FA4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2644BB4-2DB0-44B0-82FD-218F6D6FA4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BC62DD8-9ED5-44E2-876C-715E7057EB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1.05.2022</a:t>
            </a:r>
            <a:endParaRPr lang="de-DE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B145836-2A25-46BC-A45B-253ECBE06D1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Gateway definieren</a:t>
            </a:r>
          </a:p>
          <a:p>
            <a:pPr lvl="1"/>
            <a:r>
              <a:rPr lang="de-DE" dirty="0"/>
              <a:t>Name</a:t>
            </a:r>
          </a:p>
          <a:p>
            <a:pPr lvl="1"/>
            <a:r>
              <a:rPr lang="de-DE" dirty="0"/>
              <a:t>Type</a:t>
            </a:r>
          </a:p>
          <a:p>
            <a:pPr lvl="1"/>
            <a:r>
              <a:rPr lang="de-DE" dirty="0" err="1"/>
              <a:t>Condition</a:t>
            </a:r>
            <a:r>
              <a:rPr lang="de-DE" dirty="0"/>
              <a:t> Express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BA6EA6-4628-4E99-A58B-260BE388D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1548135" cy="483960"/>
          </a:xfrm>
        </p:spPr>
        <p:txBody>
          <a:bodyPr vert="horz"/>
          <a:lstStyle/>
          <a:p>
            <a:r>
              <a:rPr lang="de-DE" dirty="0"/>
              <a:t>Beispiel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010C01-4943-F52F-D5EE-FBCCC68EF1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24</a:t>
            </a:fld>
            <a:endParaRPr lang="en-US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D9F8857-CE87-83E5-ECC4-78F3C51803B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3589019" y="2124103"/>
            <a:ext cx="6304907" cy="4175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952522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2644BB4-2DB0-44B0-82FD-218F6D6FA4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2644BB4-2DB0-44B0-82FD-218F6D6FA4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BC62DD8-9ED5-44E2-876C-715E7057EB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1.05.2022</a:t>
            </a:r>
            <a:endParaRPr lang="de-DE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B145836-2A25-46BC-A45B-253ECBE06D1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Gateway definieren</a:t>
            </a:r>
          </a:p>
          <a:p>
            <a:pPr lvl="1"/>
            <a:r>
              <a:rPr lang="de-DE" dirty="0"/>
              <a:t>Name</a:t>
            </a:r>
          </a:p>
          <a:p>
            <a:pPr lvl="1"/>
            <a:r>
              <a:rPr lang="de-DE" dirty="0"/>
              <a:t>Type</a:t>
            </a:r>
          </a:p>
          <a:p>
            <a:pPr lvl="1"/>
            <a:r>
              <a:rPr lang="de-DE" dirty="0" err="1"/>
              <a:t>Condition</a:t>
            </a:r>
            <a:r>
              <a:rPr lang="de-DE" dirty="0"/>
              <a:t> Express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BA6EA6-4628-4E99-A58B-260BE388D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1548135" cy="483960"/>
          </a:xfrm>
        </p:spPr>
        <p:txBody>
          <a:bodyPr vert="horz"/>
          <a:lstStyle/>
          <a:p>
            <a:r>
              <a:rPr lang="de-DE" dirty="0"/>
              <a:t>Beispiel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010C01-4943-F52F-D5EE-FBCCC68EF1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25</a:t>
            </a:fld>
            <a:endParaRPr lang="en-US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D9F8857-CE87-83E5-ECC4-78F3C51803B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3589019" y="2134507"/>
            <a:ext cx="6304907" cy="415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128262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2644BB4-2DB0-44B0-82FD-218F6D6FA4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2644BB4-2DB0-44B0-82FD-218F6D6FA4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BC62DD8-9ED5-44E2-876C-715E7057EB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1.05.2022</a:t>
            </a:r>
            <a:endParaRPr lang="de-DE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B145836-2A25-46BC-A45B-253ECBE06D1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Deploy</a:t>
            </a:r>
          </a:p>
          <a:p>
            <a:pPr lvl="1"/>
            <a:r>
              <a:rPr lang="de-DE" dirty="0"/>
              <a:t>Iban-form als Zusatz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BA6EA6-4628-4E99-A58B-260BE388D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1548135" cy="483960"/>
          </a:xfrm>
        </p:spPr>
        <p:txBody>
          <a:bodyPr vert="horz"/>
          <a:lstStyle/>
          <a:p>
            <a:r>
              <a:rPr lang="de-DE" dirty="0"/>
              <a:t>Beispiel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010C01-4943-F52F-D5EE-FBCCC68EF1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26</a:t>
            </a:fld>
            <a:endParaRPr lang="en-US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D9F8857-CE87-83E5-ECC4-78F3C51803B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3564593" y="2124103"/>
            <a:ext cx="6353759" cy="4175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684688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2644BB4-2DB0-44B0-82FD-218F6D6FA4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2644BB4-2DB0-44B0-82FD-218F6D6FA4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BC62DD8-9ED5-44E2-876C-715E7057EB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1.05.2022</a:t>
            </a:r>
            <a:endParaRPr lang="de-DE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B145836-2A25-46BC-A45B-253ECBE06D1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Deploy</a:t>
            </a:r>
          </a:p>
          <a:p>
            <a:pPr lvl="1"/>
            <a:r>
              <a:rPr lang="de-DE" dirty="0" err="1"/>
              <a:t>Camunda</a:t>
            </a:r>
            <a:r>
              <a:rPr lang="de-DE" dirty="0"/>
              <a:t> Cockpit</a:t>
            </a:r>
          </a:p>
          <a:p>
            <a:pPr lvl="1"/>
            <a:r>
              <a:rPr lang="de-DE" dirty="0"/>
              <a:t>Definition Vers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BA6EA6-4628-4E99-A58B-260BE388D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1548135" cy="483960"/>
          </a:xfrm>
        </p:spPr>
        <p:txBody>
          <a:bodyPr vert="horz"/>
          <a:lstStyle/>
          <a:p>
            <a:r>
              <a:rPr lang="de-DE" dirty="0"/>
              <a:t>Beispiel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010C01-4943-F52F-D5EE-FBCCC68EF1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27</a:t>
            </a:fld>
            <a:endParaRPr lang="en-US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D9F8857-CE87-83E5-ECC4-78F3C51803B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3564593" y="2307129"/>
            <a:ext cx="6353759" cy="3809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186040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2644BB4-2DB0-44B0-82FD-218F6D6FA4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2644BB4-2DB0-44B0-82FD-218F6D6FA4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BC62DD8-9ED5-44E2-876C-715E7057EB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1.05.2022</a:t>
            </a:r>
            <a:endParaRPr lang="de-DE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B145836-2A25-46BC-A45B-253ECBE06D1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Manueller Task</a:t>
            </a:r>
          </a:p>
          <a:p>
            <a:pPr lvl="1"/>
            <a:r>
              <a:rPr lang="de-DE" dirty="0" err="1"/>
              <a:t>Camunda</a:t>
            </a:r>
            <a:r>
              <a:rPr lang="de-DE" dirty="0"/>
              <a:t> Cockpit</a:t>
            </a:r>
          </a:p>
          <a:p>
            <a:pPr lvl="1"/>
            <a:r>
              <a:rPr lang="de-DE" dirty="0" err="1"/>
              <a:t>Runtime</a:t>
            </a:r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BA6EA6-4628-4E99-A58B-260BE388D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1548135" cy="483960"/>
          </a:xfrm>
        </p:spPr>
        <p:txBody>
          <a:bodyPr vert="horz"/>
          <a:lstStyle/>
          <a:p>
            <a:r>
              <a:rPr lang="de-DE" dirty="0"/>
              <a:t>Beispiel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010C01-4943-F52F-D5EE-FBCCC68EF1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28</a:t>
            </a:fld>
            <a:endParaRPr lang="en-US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D9F8857-CE87-83E5-ECC4-78F3C51803B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3629559" y="2307129"/>
            <a:ext cx="6223827" cy="3809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129549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2644BB4-2DB0-44B0-82FD-218F6D6FA4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2644BB4-2DB0-44B0-82FD-218F6D6FA4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BC62DD8-9ED5-44E2-876C-715E7057EB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1.05.2022</a:t>
            </a:r>
            <a:endParaRPr lang="de-DE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B145836-2A25-46BC-A45B-253ECBE06D1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Manueller Task</a:t>
            </a:r>
          </a:p>
          <a:p>
            <a:pPr lvl="1"/>
            <a:r>
              <a:rPr lang="de-DE" dirty="0" err="1"/>
              <a:t>Camunda</a:t>
            </a:r>
            <a:r>
              <a:rPr lang="de-DE" dirty="0"/>
              <a:t> Cockpit</a:t>
            </a:r>
          </a:p>
          <a:p>
            <a:pPr lvl="1"/>
            <a:r>
              <a:rPr lang="de-DE" dirty="0"/>
              <a:t>Monitor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BA6EA6-4628-4E99-A58B-260BE388D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1548135" cy="483960"/>
          </a:xfrm>
        </p:spPr>
        <p:txBody>
          <a:bodyPr vert="horz"/>
          <a:lstStyle/>
          <a:p>
            <a:r>
              <a:rPr lang="de-DE" dirty="0"/>
              <a:t>Beispiel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010C01-4943-F52F-D5EE-FBCCC68EF1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29</a:t>
            </a:fld>
            <a:endParaRPr lang="en-US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D9F8857-CE87-83E5-ECC4-78F3C51803B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3629559" y="3541167"/>
            <a:ext cx="6223827" cy="1341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58593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2644BB4-2DB0-44B0-82FD-218F6D6FA4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37659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2644BB4-2DB0-44B0-82FD-218F6D6FA4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BC62DD8-9ED5-44E2-876C-715E7057EB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1.05.2022</a:t>
            </a:r>
            <a:endParaRPr lang="de-DE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B145836-2A25-46BC-A45B-253ECBE06D1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Was ist </a:t>
            </a:r>
            <a:r>
              <a:rPr lang="de-DE" dirty="0" err="1"/>
              <a:t>Camunda</a:t>
            </a:r>
            <a:endParaRPr lang="de-DE" dirty="0"/>
          </a:p>
          <a:p>
            <a:pPr lvl="1"/>
            <a:r>
              <a:rPr lang="de-DE" dirty="0"/>
              <a:t>Java Applikation</a:t>
            </a:r>
          </a:p>
          <a:p>
            <a:pPr lvl="1"/>
            <a:r>
              <a:rPr lang="de-DE" dirty="0"/>
              <a:t>Freies Workflow Management System</a:t>
            </a:r>
          </a:p>
          <a:p>
            <a:pPr lvl="1"/>
            <a:r>
              <a:rPr lang="de-DE" dirty="0"/>
              <a:t>Geschäftsprozesse in BPMN (</a:t>
            </a:r>
            <a:r>
              <a:rPr lang="en-US" dirty="0"/>
              <a:t>Business Process Model and Notation</a:t>
            </a:r>
            <a:r>
              <a:rPr lang="de-DE" dirty="0"/>
              <a:t>)</a:t>
            </a:r>
          </a:p>
          <a:p>
            <a:pPr lvl="2"/>
            <a:r>
              <a:rPr lang="de-DE" dirty="0"/>
              <a:t>Grafische Spezifikationssprache in Wirtschaftsinformatik/Prozessmanagement</a:t>
            </a:r>
          </a:p>
          <a:p>
            <a:pPr lvl="1"/>
            <a:r>
              <a:rPr lang="de-DE" dirty="0"/>
              <a:t>Integration DMN (</a:t>
            </a:r>
            <a:r>
              <a:rPr lang="de-DE" dirty="0" err="1"/>
              <a:t>Decision</a:t>
            </a:r>
            <a:r>
              <a:rPr lang="de-DE" dirty="0"/>
              <a:t> Model and Notation)</a:t>
            </a:r>
          </a:p>
          <a:p>
            <a:pPr lvl="2"/>
            <a:r>
              <a:rPr lang="de-DE" dirty="0"/>
              <a:t>Notationsstandard für Entscheidungsregeln im Geschäftsprozessmanagement</a:t>
            </a:r>
          </a:p>
          <a:p>
            <a:pPr lvl="1"/>
            <a:r>
              <a:rPr lang="de-DE" dirty="0"/>
              <a:t>Automatisierung von Prozess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BA6EA6-4628-4E99-A58B-260BE388D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4434695" cy="483960"/>
          </a:xfrm>
        </p:spPr>
        <p:txBody>
          <a:bodyPr vert="horz"/>
          <a:lstStyle/>
          <a:p>
            <a:r>
              <a:rPr lang="de-DE" dirty="0"/>
              <a:t>Generelle Informationen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010C01-4943-F52F-D5EE-FBCCC68EF1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06531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2644BB4-2DB0-44B0-82FD-218F6D6FA4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2644BB4-2DB0-44B0-82FD-218F6D6FA4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BC62DD8-9ED5-44E2-876C-715E7057EB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1.05.2022</a:t>
            </a:r>
            <a:endParaRPr lang="de-DE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B145836-2A25-46BC-A45B-253ECBE06D1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Manueller Task</a:t>
            </a:r>
          </a:p>
          <a:p>
            <a:pPr lvl="1"/>
            <a:r>
              <a:rPr lang="de-DE" dirty="0" err="1"/>
              <a:t>Camunda</a:t>
            </a:r>
            <a:r>
              <a:rPr lang="de-DE" dirty="0"/>
              <a:t> Cockpit</a:t>
            </a:r>
          </a:p>
          <a:p>
            <a:pPr lvl="1"/>
            <a:r>
              <a:rPr lang="de-DE" dirty="0" err="1"/>
              <a:t>Tasklist</a:t>
            </a:r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BA6EA6-4628-4E99-A58B-260BE388D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1548135" cy="483960"/>
          </a:xfrm>
        </p:spPr>
        <p:txBody>
          <a:bodyPr vert="horz"/>
          <a:lstStyle/>
          <a:p>
            <a:r>
              <a:rPr lang="de-DE" dirty="0"/>
              <a:t>Beispiel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010C01-4943-F52F-D5EE-FBCCC68EF1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30</a:t>
            </a:fld>
            <a:endParaRPr lang="en-US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D9F8857-CE87-83E5-ECC4-78F3C51803B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3629559" y="3025908"/>
            <a:ext cx="6223827" cy="2371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336379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2644BB4-2DB0-44B0-82FD-218F6D6FA4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2644BB4-2DB0-44B0-82FD-218F6D6FA4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BC62DD8-9ED5-44E2-876C-715E7057EB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1.05.2022</a:t>
            </a:r>
            <a:endParaRPr lang="de-DE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B145836-2A25-46BC-A45B-253ECBE06D1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Java Code</a:t>
            </a:r>
          </a:p>
          <a:p>
            <a:pPr lvl="1"/>
            <a:r>
              <a:rPr lang="de-DE" dirty="0"/>
              <a:t>Neues Maven Project</a:t>
            </a:r>
          </a:p>
          <a:p>
            <a:pPr lvl="1"/>
            <a:r>
              <a:rPr lang="de-DE" dirty="0" err="1"/>
              <a:t>Camunda</a:t>
            </a:r>
            <a:r>
              <a:rPr lang="de-DE" dirty="0"/>
              <a:t> </a:t>
            </a:r>
            <a:r>
              <a:rPr lang="de-DE" dirty="0" err="1"/>
              <a:t>Dependency</a:t>
            </a:r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BA6EA6-4628-4E99-A58B-260BE388D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1548135" cy="483960"/>
          </a:xfrm>
        </p:spPr>
        <p:txBody>
          <a:bodyPr vert="horz"/>
          <a:lstStyle/>
          <a:p>
            <a:r>
              <a:rPr lang="de-DE" dirty="0"/>
              <a:t>Beispiel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010C01-4943-F52F-D5EE-FBCCC68EF1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31</a:t>
            </a:fld>
            <a:endParaRPr lang="en-US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D9F8857-CE87-83E5-ECC4-78F3C51803B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3629559" y="3496706"/>
            <a:ext cx="6223827" cy="1430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580357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2644BB4-2DB0-44B0-82FD-218F6D6FA4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2644BB4-2DB0-44B0-82FD-218F6D6FA4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BC62DD8-9ED5-44E2-876C-715E7057EB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1.05.2022</a:t>
            </a:r>
            <a:endParaRPr lang="de-DE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B145836-2A25-46BC-A45B-253ECBE06D1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1800" y="1800224"/>
            <a:ext cx="4108373" cy="4176714"/>
          </a:xfrm>
        </p:spPr>
        <p:txBody>
          <a:bodyPr/>
          <a:lstStyle/>
          <a:p>
            <a:r>
              <a:rPr lang="de-DE" dirty="0"/>
              <a:t>Java Code</a:t>
            </a:r>
          </a:p>
          <a:p>
            <a:pPr lvl="1"/>
            <a:r>
              <a:rPr lang="de-DE" dirty="0" err="1"/>
              <a:t>Worker</a:t>
            </a:r>
            <a:r>
              <a:rPr lang="de-DE" dirty="0"/>
              <a:t> </a:t>
            </a:r>
            <a:r>
              <a:rPr lang="de-DE" dirty="0" err="1"/>
              <a:t>class</a:t>
            </a:r>
            <a:endParaRPr lang="de-DE" dirty="0"/>
          </a:p>
          <a:p>
            <a:pPr lvl="1"/>
            <a:r>
              <a:rPr lang="de-DE" dirty="0"/>
              <a:t>Polling (geht auch integrativ)</a:t>
            </a:r>
          </a:p>
          <a:p>
            <a:pPr lvl="1"/>
            <a:r>
              <a:rPr lang="de-DE" dirty="0" err="1"/>
              <a:t>Subscribing</a:t>
            </a:r>
            <a:endParaRPr lang="de-DE" dirty="0"/>
          </a:p>
          <a:p>
            <a:pPr lvl="1"/>
            <a:r>
              <a:rPr lang="de-DE" dirty="0" err="1"/>
              <a:t>LockDuration</a:t>
            </a:r>
            <a:endParaRPr lang="de-DE" dirty="0"/>
          </a:p>
          <a:p>
            <a:pPr lvl="1"/>
            <a:r>
              <a:rPr lang="de-DE" dirty="0"/>
              <a:t>Variablen abrufen</a:t>
            </a:r>
          </a:p>
          <a:p>
            <a:pPr lvl="1"/>
            <a:r>
              <a:rPr lang="de-DE" dirty="0"/>
              <a:t>Geschäftslogik</a:t>
            </a:r>
          </a:p>
          <a:p>
            <a:pPr lvl="1"/>
            <a:r>
              <a:rPr lang="de-DE" dirty="0" err="1"/>
              <a:t>Complete</a:t>
            </a:r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BA6EA6-4628-4E99-A58B-260BE388D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1548135" cy="483960"/>
          </a:xfrm>
        </p:spPr>
        <p:txBody>
          <a:bodyPr vert="horz"/>
          <a:lstStyle/>
          <a:p>
            <a:r>
              <a:rPr lang="de-DE" dirty="0"/>
              <a:t>Beispiel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010C01-4943-F52F-D5EE-FBCCC68EF1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32</a:t>
            </a:fld>
            <a:endParaRPr lang="en-US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D9F8857-CE87-83E5-ECC4-78F3C51803B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4540173" y="1311216"/>
            <a:ext cx="6784163" cy="4755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919347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2644BB4-2DB0-44B0-82FD-218F6D6FA4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2644BB4-2DB0-44B0-82FD-218F6D6FA4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BC62DD8-9ED5-44E2-876C-715E7057EB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1.05.2022</a:t>
            </a:r>
            <a:endParaRPr lang="de-DE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B145836-2A25-46BC-A45B-253ECBE06D1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Auslagern </a:t>
            </a:r>
            <a:r>
              <a:rPr lang="de-DE" dirty="0" err="1"/>
              <a:t>if</a:t>
            </a:r>
            <a:r>
              <a:rPr lang="de-DE" dirty="0"/>
              <a:t> ins BPMN</a:t>
            </a:r>
          </a:p>
          <a:p>
            <a:pPr lvl="1"/>
            <a:r>
              <a:rPr lang="de-DE" dirty="0"/>
              <a:t>Neues Gateway</a:t>
            </a:r>
          </a:p>
          <a:p>
            <a:pPr lvl="1"/>
            <a:r>
              <a:rPr lang="de-DE" dirty="0"/>
              <a:t>Auf </a:t>
            </a:r>
            <a:r>
              <a:rPr lang="de-DE" dirty="0" err="1"/>
              <a:t>approved</a:t>
            </a:r>
            <a:r>
              <a:rPr lang="de-DE" dirty="0"/>
              <a:t> Variable </a:t>
            </a:r>
            <a:br>
              <a:rPr lang="de-DE" dirty="0"/>
            </a:br>
            <a:r>
              <a:rPr lang="de-DE" dirty="0"/>
              <a:t>prüf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BA6EA6-4628-4E99-A58B-260BE388D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1548135" cy="483960"/>
          </a:xfrm>
        </p:spPr>
        <p:txBody>
          <a:bodyPr vert="horz"/>
          <a:lstStyle/>
          <a:p>
            <a:r>
              <a:rPr lang="de-DE" dirty="0"/>
              <a:t>Beispiel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010C01-4943-F52F-D5EE-FBCCC68EF1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33</a:t>
            </a:fld>
            <a:endParaRPr lang="en-US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D9F8857-CE87-83E5-ECC4-78F3C51803B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3629559" y="2515511"/>
            <a:ext cx="6223827" cy="3392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808785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2644BB4-2DB0-44B0-82FD-218F6D6FA4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2644BB4-2DB0-44B0-82FD-218F6D6FA4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BC62DD8-9ED5-44E2-876C-715E7057EB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1.05.2022</a:t>
            </a:r>
            <a:endParaRPr lang="de-DE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B145836-2A25-46BC-A45B-253ECBE06D1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1800" y="1800224"/>
            <a:ext cx="4108373" cy="4176714"/>
          </a:xfrm>
        </p:spPr>
        <p:txBody>
          <a:bodyPr/>
          <a:lstStyle/>
          <a:p>
            <a:r>
              <a:rPr lang="de-DE" dirty="0"/>
              <a:t>Java Code</a:t>
            </a:r>
          </a:p>
          <a:p>
            <a:pPr lvl="1"/>
            <a:r>
              <a:rPr lang="de-DE" dirty="0" err="1"/>
              <a:t>Approved</a:t>
            </a:r>
            <a:r>
              <a:rPr lang="de-DE" dirty="0"/>
              <a:t> Variable nicht mehr nötig</a:t>
            </a:r>
          </a:p>
          <a:p>
            <a:pPr lvl="1"/>
            <a:r>
              <a:rPr lang="de-DE" dirty="0"/>
              <a:t>IF Statement entfern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BA6EA6-4628-4E99-A58B-260BE388D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1548135" cy="483960"/>
          </a:xfrm>
        </p:spPr>
        <p:txBody>
          <a:bodyPr vert="horz"/>
          <a:lstStyle/>
          <a:p>
            <a:r>
              <a:rPr lang="de-DE" dirty="0"/>
              <a:t>Beispiel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010C01-4943-F52F-D5EE-FBCCC68EF1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34</a:t>
            </a:fld>
            <a:endParaRPr lang="en-US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D9F8857-CE87-83E5-ECC4-78F3C51803B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4540173" y="1628567"/>
            <a:ext cx="6784163" cy="4120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984277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2644BB4-2DB0-44B0-82FD-218F6D6FA4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2644BB4-2DB0-44B0-82FD-218F6D6FA4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BC62DD8-9ED5-44E2-876C-715E7057EB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1.05.2022</a:t>
            </a:r>
            <a:endParaRPr lang="de-DE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B145836-2A25-46BC-A45B-253ECBE06D1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1800" y="1800224"/>
            <a:ext cx="4108373" cy="4176714"/>
          </a:xfrm>
        </p:spPr>
        <p:txBody>
          <a:bodyPr/>
          <a:lstStyle/>
          <a:p>
            <a:r>
              <a:rPr lang="de-DE" dirty="0"/>
              <a:t>Vorführu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BA6EA6-4628-4E99-A58B-260BE388D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1548135" cy="483960"/>
          </a:xfrm>
        </p:spPr>
        <p:txBody>
          <a:bodyPr vert="horz"/>
          <a:lstStyle/>
          <a:p>
            <a:r>
              <a:rPr lang="de-DE" dirty="0"/>
              <a:t>Beispiel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010C01-4943-F52F-D5EE-FBCCC68EF1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653264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2644BB4-2DB0-44B0-82FD-218F6D6FA4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2644BB4-2DB0-44B0-82FD-218F6D6FA4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BC62DD8-9ED5-44E2-876C-715E7057EB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1.05.2022</a:t>
            </a:r>
            <a:endParaRPr lang="de-DE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B145836-2A25-46BC-A45B-253ECBE06D1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1800" y="1800224"/>
            <a:ext cx="9471325" cy="4176714"/>
          </a:xfrm>
        </p:spPr>
        <p:txBody>
          <a:bodyPr/>
          <a:lstStyle/>
          <a:p>
            <a:r>
              <a:rPr lang="de-DE" dirty="0"/>
              <a:t>Projekt BAFA (Bundesamtes für Wirtschaft und Ausfuhrkontrolle)</a:t>
            </a:r>
          </a:p>
          <a:p>
            <a:pPr lvl="1"/>
            <a:r>
              <a:rPr lang="de-DE" dirty="0"/>
              <a:t>Viele Gesetzes Änderungen</a:t>
            </a:r>
          </a:p>
          <a:p>
            <a:pPr lvl="2"/>
            <a:r>
              <a:rPr lang="de-DE" dirty="0"/>
              <a:t>Verschiedene Abläufe</a:t>
            </a:r>
          </a:p>
          <a:p>
            <a:pPr lvl="2"/>
            <a:r>
              <a:rPr lang="de-DE" dirty="0"/>
              <a:t>Abwärtskompatibilität</a:t>
            </a:r>
          </a:p>
          <a:p>
            <a:pPr lvl="2"/>
            <a:r>
              <a:rPr lang="de-DE" dirty="0"/>
              <a:t>Verschiedene Berechnungen</a:t>
            </a:r>
          </a:p>
          <a:p>
            <a:pPr marL="252000" lvl="2" indent="0">
              <a:buNone/>
            </a:pPr>
            <a:endParaRPr lang="de-DE" dirty="0"/>
          </a:p>
          <a:p>
            <a:pPr lvl="1"/>
            <a:r>
              <a:rPr lang="de-DE" dirty="0"/>
              <a:t>Durch </a:t>
            </a:r>
            <a:r>
              <a:rPr lang="de-DE" dirty="0" err="1"/>
              <a:t>Camunda</a:t>
            </a:r>
            <a:r>
              <a:rPr lang="de-DE" dirty="0"/>
              <a:t> Versionierung einfach abzubilden</a:t>
            </a:r>
          </a:p>
          <a:p>
            <a:pPr lvl="1"/>
            <a:r>
              <a:rPr lang="de-DE" dirty="0"/>
              <a:t>BPMN UI geeignet für DV Konzept</a:t>
            </a:r>
          </a:p>
          <a:p>
            <a:pPr lvl="1"/>
            <a:r>
              <a:rPr lang="de-DE" dirty="0"/>
              <a:t>Monitor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BA6EA6-4628-4E99-A58B-260BE388D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3601582" cy="483960"/>
          </a:xfrm>
        </p:spPr>
        <p:txBody>
          <a:bodyPr vert="horz"/>
          <a:lstStyle/>
          <a:p>
            <a:r>
              <a:rPr lang="de-DE" dirty="0"/>
              <a:t>Kunden Anwendung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010C01-4943-F52F-D5EE-FBCCC68EF1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333439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2644BB4-2DB0-44B0-82FD-218F6D6FA4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2644BB4-2DB0-44B0-82FD-218F6D6FA4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BC62DD8-9ED5-44E2-876C-715E7057EB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1.05.2022</a:t>
            </a:r>
            <a:endParaRPr lang="de-DE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B145836-2A25-46BC-A45B-253ECBE06D1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1800" y="1800224"/>
            <a:ext cx="9471325" cy="4176714"/>
          </a:xfrm>
        </p:spPr>
        <p:txBody>
          <a:bodyPr/>
          <a:lstStyle/>
          <a:p>
            <a:pPr lvl="1"/>
            <a:r>
              <a:rPr lang="de-DE" dirty="0"/>
              <a:t>camunda.org</a:t>
            </a:r>
          </a:p>
          <a:p>
            <a:pPr lvl="1"/>
            <a:r>
              <a:rPr lang="de-DE" dirty="0"/>
              <a:t>docs.camunda.org</a:t>
            </a:r>
          </a:p>
          <a:p>
            <a:pPr lvl="1"/>
            <a:r>
              <a:rPr lang="de-DE" dirty="0"/>
              <a:t>stackoverflow.com</a:t>
            </a:r>
          </a:p>
          <a:p>
            <a:pPr lvl="1"/>
            <a:r>
              <a:rPr lang="de-DE" dirty="0"/>
              <a:t>forum.camunda.io</a:t>
            </a:r>
          </a:p>
          <a:p>
            <a:pPr lvl="1"/>
            <a:r>
              <a:rPr lang="de-DE" dirty="0"/>
              <a:t>wikipedia.org</a:t>
            </a:r>
          </a:p>
          <a:p>
            <a:pPr lvl="1"/>
            <a:r>
              <a:rPr lang="de-DE" dirty="0"/>
              <a:t>Forum.bpmn.i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BA6EA6-4628-4E99-A58B-260BE388D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1665154" cy="483960"/>
          </a:xfrm>
        </p:spPr>
        <p:txBody>
          <a:bodyPr vert="horz"/>
          <a:lstStyle/>
          <a:p>
            <a:r>
              <a:rPr lang="de-DE" dirty="0"/>
              <a:t>Quellen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010C01-4943-F52F-D5EE-FBCCC68EF1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544252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2644BB4-2DB0-44B0-82FD-218F6D6FA4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2644BB4-2DB0-44B0-82FD-218F6D6FA4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BC62DD8-9ED5-44E2-876C-715E7057EB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1.05.2022</a:t>
            </a:r>
            <a:endParaRPr lang="de-DE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B145836-2A25-46BC-A45B-253ECBE06D1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1800" y="1800224"/>
            <a:ext cx="9471325" cy="4176714"/>
          </a:xfrm>
        </p:spPr>
        <p:txBody>
          <a:bodyPr/>
          <a:lstStyle/>
          <a:p>
            <a:pPr marL="0" lvl="1" indent="0">
              <a:buNone/>
            </a:pPr>
            <a:r>
              <a:rPr lang="de-DE" dirty="0"/>
              <a:t>https://github.com/Leorus2203/camund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BA6EA6-4628-4E99-A58B-260BE388D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1128918" cy="483960"/>
          </a:xfrm>
        </p:spPr>
        <p:txBody>
          <a:bodyPr vert="horz"/>
          <a:lstStyle/>
          <a:p>
            <a:r>
              <a:rPr lang="de-DE" dirty="0"/>
              <a:t>Cod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010C01-4943-F52F-D5EE-FBCCC68EF1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374968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Bildplatzhalter 71" descr="Ein Bild, das Text, Gerät enthält.&#10;&#10;Automatisch generierte Beschreibung">
            <a:extLst>
              <a:ext uri="{FF2B5EF4-FFF2-40B4-BE49-F238E27FC236}">
                <a16:creationId xmlns:a16="http://schemas.microsoft.com/office/drawing/2014/main" id="{E0F2F026-7F5A-4E6D-8389-96DE174FE85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3" b="23"/>
          <a:stretch/>
        </p:blipFill>
        <p:spPr/>
      </p:pic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D579156-74E3-476C-9E0D-9164A4E9DD7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01.05.2022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1194CD3-68FC-800D-F34B-E5DABCEED4A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EB951E36-55B9-4701-BDC8-6933B16143E8}"/>
              </a:ext>
            </a:extLst>
          </p:cNvPr>
          <p:cNvSpPr txBox="1"/>
          <p:nvPr/>
        </p:nvSpPr>
        <p:spPr>
          <a:xfrm>
            <a:off x="432602" y="4320206"/>
            <a:ext cx="1872208" cy="144266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de-DE" sz="1200" b="1" i="0" u="none" strike="noStrike" baseline="0">
                <a:solidFill>
                  <a:srgbClr val="FFFFFF"/>
                </a:solidFill>
              </a:rPr>
              <a:t>adesso SE</a:t>
            </a:r>
          </a:p>
          <a:p>
            <a:pPr algn="l"/>
            <a:r>
              <a:rPr lang="de-DE" sz="1200" b="0" i="0" u="none" strike="noStrike" baseline="0">
                <a:solidFill>
                  <a:srgbClr val="FFFFFF"/>
                </a:solidFill>
                <a:latin typeface="+mj-lt"/>
              </a:rPr>
              <a:t>Adessoplatz 1</a:t>
            </a:r>
          </a:p>
          <a:p>
            <a:pPr algn="l"/>
            <a:r>
              <a:rPr lang="de-DE" sz="1200" b="0" i="0" u="none" strike="noStrike" baseline="0">
                <a:solidFill>
                  <a:srgbClr val="FFFFFF"/>
                </a:solidFill>
                <a:latin typeface="+mj-lt"/>
              </a:rPr>
              <a:t>44269 Dortmund</a:t>
            </a:r>
          </a:p>
          <a:p>
            <a:pPr algn="l"/>
            <a:r>
              <a:rPr lang="de-DE" sz="1200" b="0" i="0" u="none" strike="noStrike" baseline="0">
                <a:solidFill>
                  <a:srgbClr val="FFFFFF"/>
                </a:solidFill>
                <a:latin typeface="+mj-lt"/>
              </a:rPr>
              <a:t>T +49 231 7000-7000</a:t>
            </a:r>
          </a:p>
          <a:p>
            <a:pPr algn="l"/>
            <a:r>
              <a:rPr lang="de-DE" sz="1200" b="0" i="0" u="none" strike="noStrike" baseline="0">
                <a:solidFill>
                  <a:srgbClr val="FFFFFF"/>
                </a:solidFill>
                <a:latin typeface="+mj-lt"/>
              </a:rPr>
              <a:t>F +49 231 7000-1000</a:t>
            </a:r>
          </a:p>
          <a:p>
            <a:pPr algn="l"/>
            <a:r>
              <a:rPr lang="de-DE" sz="1200" b="0" i="0" u="none" strike="noStrike" baseline="0">
                <a:solidFill>
                  <a:srgbClr val="FFFFFF"/>
                </a:solidFill>
                <a:latin typeface="+mj-lt"/>
              </a:rPr>
              <a:t>www.adesso.de</a:t>
            </a:r>
            <a:endParaRPr lang="de-DE" sz="1200" b="1" cap="all">
              <a:solidFill>
                <a:schemeClr val="bg1"/>
              </a:solidFill>
              <a:latin typeface="+mj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A064C4E-FD5C-4C78-A383-5DCE8FA6500B}"/>
              </a:ext>
            </a:extLst>
          </p:cNvPr>
          <p:cNvSpPr txBox="1"/>
          <p:nvPr/>
        </p:nvSpPr>
        <p:spPr>
          <a:xfrm>
            <a:off x="431800" y="1800225"/>
            <a:ext cx="3024188" cy="64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180000" tIns="0" rIns="180000" bIns="0" rtlCol="0" anchor="ctr" anchorCtr="0">
            <a:noAutofit/>
          </a:bodyPr>
          <a:lstStyle/>
          <a:p>
            <a:r>
              <a:rPr lang="de-DE" sz="2850" b="1" cap="all" baseline="0">
                <a:solidFill>
                  <a:schemeClr val="bg1"/>
                </a:solidFill>
              </a:rPr>
              <a:t>Vielen Dank!</a:t>
            </a:r>
          </a:p>
        </p:txBody>
      </p:sp>
    </p:spTree>
    <p:extLst>
      <p:ext uri="{BB962C8B-B14F-4D97-AF65-F5344CB8AC3E}">
        <p14:creationId xmlns:p14="http://schemas.microsoft.com/office/powerpoint/2010/main" val="34520268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2644BB4-2DB0-44B0-82FD-218F6D6FA4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2644BB4-2DB0-44B0-82FD-218F6D6FA4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BC62DD8-9ED5-44E2-876C-715E7057EB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1.05.2022</a:t>
            </a:r>
            <a:endParaRPr lang="de-DE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B145836-2A25-46BC-A45B-253ECBE06D1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Bestandteile</a:t>
            </a:r>
          </a:p>
          <a:p>
            <a:pPr lvl="1"/>
            <a:r>
              <a:rPr lang="de-DE" dirty="0" err="1"/>
              <a:t>Camunda</a:t>
            </a:r>
            <a:r>
              <a:rPr lang="de-DE" dirty="0"/>
              <a:t> </a:t>
            </a:r>
            <a:r>
              <a:rPr lang="de-DE" dirty="0" err="1"/>
              <a:t>Modeler</a:t>
            </a:r>
            <a:endParaRPr lang="de-DE" dirty="0"/>
          </a:p>
          <a:p>
            <a:pPr lvl="2"/>
            <a:r>
              <a:rPr lang="de-DE" dirty="0"/>
              <a:t>Open-Source</a:t>
            </a:r>
          </a:p>
          <a:p>
            <a:pPr lvl="2"/>
            <a:r>
              <a:rPr lang="de-DE" dirty="0"/>
              <a:t>Modellierungswerkzeug für BPMN-2.0-Diagramme</a:t>
            </a:r>
          </a:p>
          <a:p>
            <a:pPr lvl="2"/>
            <a:r>
              <a:rPr lang="de-DE" dirty="0" err="1"/>
              <a:t>Standalone</a:t>
            </a:r>
            <a:r>
              <a:rPr lang="de-DE" dirty="0"/>
              <a:t> oder Plugin</a:t>
            </a:r>
          </a:p>
          <a:p>
            <a:pPr lvl="1"/>
            <a:r>
              <a:rPr lang="de-DE" dirty="0"/>
              <a:t>Cockpit</a:t>
            </a:r>
          </a:p>
          <a:p>
            <a:pPr lvl="2"/>
            <a:r>
              <a:rPr lang="de-DE" dirty="0"/>
              <a:t>Webapplikation</a:t>
            </a:r>
          </a:p>
          <a:p>
            <a:pPr lvl="2"/>
            <a:r>
              <a:rPr lang="de-DE" dirty="0"/>
              <a:t>Administration und Monitoring</a:t>
            </a:r>
          </a:p>
          <a:p>
            <a:pPr lvl="1"/>
            <a:r>
              <a:rPr lang="de-DE" dirty="0"/>
              <a:t>Laufzeitkomponenten</a:t>
            </a:r>
          </a:p>
          <a:p>
            <a:pPr lvl="2"/>
            <a:r>
              <a:rPr lang="de-DE" dirty="0" err="1"/>
              <a:t>Process</a:t>
            </a:r>
            <a:r>
              <a:rPr lang="de-DE" dirty="0"/>
              <a:t> Engine (Java-</a:t>
            </a:r>
            <a:r>
              <a:rPr lang="de-DE" dirty="0" err="1"/>
              <a:t>Prozessengine</a:t>
            </a:r>
            <a:r>
              <a:rPr lang="de-DE" dirty="0"/>
              <a:t> um die BPMN Workflows abzuwickeln)</a:t>
            </a:r>
          </a:p>
          <a:p>
            <a:pPr lvl="2"/>
            <a:r>
              <a:rPr lang="de-DE" dirty="0"/>
              <a:t>Model Repository (Repository, wo BPMN Modelle abgespeichert sind)</a:t>
            </a:r>
          </a:p>
          <a:p>
            <a:pPr lvl="2"/>
            <a:r>
              <a:rPr lang="de-DE" dirty="0" err="1"/>
              <a:t>Camunda</a:t>
            </a:r>
            <a:r>
              <a:rPr lang="de-DE" dirty="0"/>
              <a:t> </a:t>
            </a:r>
            <a:r>
              <a:rPr lang="de-DE" dirty="0" err="1"/>
              <a:t>Tasklist</a:t>
            </a:r>
            <a:r>
              <a:rPr lang="de-DE" dirty="0"/>
              <a:t> (Webapplikation für Workflow Management und Benutzeraufgaben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BA6EA6-4628-4E99-A58B-260BE388D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4434695" cy="483960"/>
          </a:xfrm>
        </p:spPr>
        <p:txBody>
          <a:bodyPr vert="horz"/>
          <a:lstStyle/>
          <a:p>
            <a:r>
              <a:rPr lang="de-DE" dirty="0"/>
              <a:t>Generelle Informationen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010C01-4943-F52F-D5EE-FBCCC68EF1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72556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2644BB4-2DB0-44B0-82FD-218F6D6FA4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2644BB4-2DB0-44B0-82FD-218F6D6FA4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BC62DD8-9ED5-44E2-876C-715E7057EB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1.05.2022</a:t>
            </a:r>
            <a:endParaRPr lang="de-DE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B145836-2A25-46BC-A45B-253ECBE06D1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1"/>
            <a:r>
              <a:rPr lang="de-DE" dirty="0" err="1"/>
              <a:t>Camunda</a:t>
            </a:r>
            <a:r>
              <a:rPr lang="de-DE" dirty="0"/>
              <a:t> BPM RUN</a:t>
            </a:r>
          </a:p>
          <a:p>
            <a:pPr lvl="2"/>
            <a:r>
              <a:rPr lang="de-DE" dirty="0"/>
              <a:t>Einfache ZIP File</a:t>
            </a:r>
          </a:p>
          <a:p>
            <a:pPr lvl="1"/>
            <a:r>
              <a:rPr lang="de-DE" dirty="0" err="1"/>
              <a:t>Camunda</a:t>
            </a:r>
            <a:r>
              <a:rPr lang="de-DE" dirty="0"/>
              <a:t> </a:t>
            </a:r>
            <a:r>
              <a:rPr lang="de-DE" dirty="0" err="1"/>
              <a:t>Modeler</a:t>
            </a:r>
            <a:endParaRPr lang="de-DE" dirty="0"/>
          </a:p>
          <a:p>
            <a:pPr lvl="2"/>
            <a:r>
              <a:rPr lang="de-DE" dirty="0"/>
              <a:t>Einfache ZIP File</a:t>
            </a:r>
          </a:p>
          <a:p>
            <a:pPr lvl="1"/>
            <a:r>
              <a:rPr lang="de-DE" dirty="0"/>
              <a:t>Java JRE 1.8+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BA6EA6-4628-4E99-A58B-260BE388D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1232343" cy="483960"/>
          </a:xfrm>
        </p:spPr>
        <p:txBody>
          <a:bodyPr vert="horz"/>
          <a:lstStyle/>
          <a:p>
            <a:r>
              <a:rPr lang="de-DE" dirty="0"/>
              <a:t>Setup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010C01-4943-F52F-D5EE-FBCCC68EF1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8739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2644BB4-2DB0-44B0-82FD-218F6D6FA4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2644BB4-2DB0-44B0-82FD-218F6D6FA4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BC62DD8-9ED5-44E2-876C-715E7057EB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1.05.2022</a:t>
            </a:r>
            <a:endParaRPr lang="de-DE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B145836-2A25-46BC-A45B-253ECBE06D1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err="1"/>
              <a:t>Camunda</a:t>
            </a:r>
            <a:r>
              <a:rPr lang="de-DE" dirty="0"/>
              <a:t> Prozess erstellen</a:t>
            </a:r>
          </a:p>
          <a:p>
            <a:pPr lvl="1"/>
            <a:r>
              <a:rPr lang="de-DE" dirty="0" err="1"/>
              <a:t>Camunda</a:t>
            </a:r>
            <a:r>
              <a:rPr lang="de-DE" dirty="0"/>
              <a:t> </a:t>
            </a:r>
            <a:r>
              <a:rPr lang="de-DE" dirty="0" err="1"/>
              <a:t>Modeler</a:t>
            </a:r>
            <a:endParaRPr lang="de-DE" dirty="0"/>
          </a:p>
          <a:p>
            <a:pPr lvl="1"/>
            <a:r>
              <a:rPr lang="de-DE" dirty="0"/>
              <a:t>Bankverbindung änder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BA6EA6-4628-4E99-A58B-260BE388D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1548135" cy="483960"/>
          </a:xfrm>
        </p:spPr>
        <p:txBody>
          <a:bodyPr vert="horz"/>
          <a:lstStyle/>
          <a:p>
            <a:r>
              <a:rPr lang="de-DE" dirty="0"/>
              <a:t>Beispiel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010C01-4943-F52F-D5EE-FBCCC68EF1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6</a:t>
            </a:fld>
            <a:endParaRPr lang="en-US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D9F8857-CE87-83E5-ECC4-78F3C51803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10950" y="2087736"/>
            <a:ext cx="6461049" cy="42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0629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2644BB4-2DB0-44B0-82FD-218F6D6FA4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2644BB4-2DB0-44B0-82FD-218F6D6FA4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BC62DD8-9ED5-44E2-876C-715E7057EB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1.05.2022</a:t>
            </a:r>
            <a:endParaRPr lang="de-DE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B145836-2A25-46BC-A45B-253ECBE06D1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err="1"/>
              <a:t>Camunda</a:t>
            </a:r>
            <a:r>
              <a:rPr lang="de-DE" dirty="0"/>
              <a:t> Prozess erstellen</a:t>
            </a:r>
          </a:p>
          <a:p>
            <a:pPr lvl="1"/>
            <a:r>
              <a:rPr lang="de-DE" dirty="0"/>
              <a:t>Neues BPMN Diagram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BA6EA6-4628-4E99-A58B-260BE388D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1548135" cy="483960"/>
          </a:xfrm>
        </p:spPr>
        <p:txBody>
          <a:bodyPr vert="horz"/>
          <a:lstStyle/>
          <a:p>
            <a:r>
              <a:rPr lang="de-DE" dirty="0"/>
              <a:t>Beispiel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010C01-4943-F52F-D5EE-FBCCC68EF1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7</a:t>
            </a:fld>
            <a:endParaRPr lang="en-US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D9F8857-CE87-83E5-ECC4-78F3C51803B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3510950" y="2091391"/>
            <a:ext cx="6461049" cy="4240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21861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2644BB4-2DB0-44B0-82FD-218F6D6FA4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2644BB4-2DB0-44B0-82FD-218F6D6FA4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BC62DD8-9ED5-44E2-876C-715E7057EB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1.05.2022</a:t>
            </a:r>
            <a:endParaRPr lang="de-DE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B145836-2A25-46BC-A45B-253ECBE06D1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err="1"/>
              <a:t>Camunda</a:t>
            </a:r>
            <a:r>
              <a:rPr lang="de-DE" dirty="0"/>
              <a:t> Prozess erstellen</a:t>
            </a:r>
          </a:p>
          <a:p>
            <a:pPr lvl="1"/>
            <a:r>
              <a:rPr lang="de-DE" dirty="0"/>
              <a:t>Start korrekt benennen</a:t>
            </a:r>
          </a:p>
          <a:p>
            <a:pPr lvl="1"/>
            <a:r>
              <a:rPr lang="de-DE" dirty="0"/>
              <a:t>Neuen Task erstell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BA6EA6-4628-4E99-A58B-260BE388D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1548135" cy="483960"/>
          </a:xfrm>
        </p:spPr>
        <p:txBody>
          <a:bodyPr vert="horz"/>
          <a:lstStyle/>
          <a:p>
            <a:r>
              <a:rPr lang="de-DE" dirty="0"/>
              <a:t>Beispiel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010C01-4943-F52F-D5EE-FBCCC68EF1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8</a:t>
            </a:fld>
            <a:endParaRPr lang="en-US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D9F8857-CE87-83E5-ECC4-78F3C51803B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3518351" y="2091391"/>
            <a:ext cx="6446246" cy="4240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94942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2644BB4-2DB0-44B0-82FD-218F6D6FA4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2644BB4-2DB0-44B0-82FD-218F6D6FA4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BC62DD8-9ED5-44E2-876C-715E7057EB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1.05.2022</a:t>
            </a:r>
            <a:endParaRPr lang="de-DE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B145836-2A25-46BC-A45B-253ECBE06D1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err="1"/>
              <a:t>Camunda</a:t>
            </a:r>
            <a:r>
              <a:rPr lang="de-DE" dirty="0"/>
              <a:t> Prozess erstellen</a:t>
            </a:r>
          </a:p>
          <a:p>
            <a:pPr lvl="1"/>
            <a:r>
              <a:rPr lang="de-DE" dirty="0"/>
              <a:t>Service Task verwend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BA6EA6-4628-4E99-A58B-260BE388D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1548135" cy="483960"/>
          </a:xfrm>
        </p:spPr>
        <p:txBody>
          <a:bodyPr vert="horz"/>
          <a:lstStyle/>
          <a:p>
            <a:r>
              <a:rPr lang="de-DE" dirty="0"/>
              <a:t>Beispiel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010C01-4943-F52F-D5EE-FBCCC68EF1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9</a:t>
            </a:fld>
            <a:endParaRPr lang="en-US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D9F8857-CE87-83E5-ECC4-78F3C51803B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3528953" y="2091391"/>
            <a:ext cx="6425042" cy="4240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23247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desso">
  <a:themeElements>
    <a:clrScheme name="adesso_colors">
      <a:dk1>
        <a:sysClr val="windowText" lastClr="000000"/>
      </a:dk1>
      <a:lt1>
        <a:sysClr val="window" lastClr="FFFFFF"/>
      </a:lt1>
      <a:dk2>
        <a:srgbClr val="062D47"/>
      </a:dk2>
      <a:lt2>
        <a:srgbClr val="F3F2F1"/>
      </a:lt2>
      <a:accent1>
        <a:srgbClr val="006EC7"/>
      </a:accent1>
      <a:accent2>
        <a:srgbClr val="C8B600"/>
      </a:accent2>
      <a:accent3>
        <a:srgbClr val="887D75"/>
      </a:accent3>
      <a:accent4>
        <a:srgbClr val="005C9E"/>
      </a:accent4>
      <a:accent5>
        <a:srgbClr val="003D69"/>
      </a:accent5>
      <a:accent6>
        <a:srgbClr val="ACA49E"/>
      </a:accent6>
      <a:hlink>
        <a:srgbClr val="006EC7"/>
      </a:hlink>
      <a:folHlink>
        <a:srgbClr val="ACA49E"/>
      </a:folHlink>
    </a:clrScheme>
    <a:fontScheme name="adesso_font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desso Template 2022-April-20" id="{F34CCFA0-8F76-4377-8793-87F92DD40E2D}" vid="{6E71D690-F363-4A0E-814C-EC7D91727840}"/>
    </a:ext>
  </a:extLst>
</a:theme>
</file>

<file path=ppt/theme/theme2.xml><?xml version="1.0" encoding="utf-8"?>
<a:theme xmlns:a="http://schemas.openxmlformats.org/drawingml/2006/main" name="1_adesso">
  <a:themeElements>
    <a:clrScheme name="Graustuf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adesso_font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desso Template 2022-April-20" id="{F34CCFA0-8F76-4377-8793-87F92DD40E2D}" vid="{6E71D690-F363-4A0E-814C-EC7D91727840}"/>
    </a:ext>
  </a:extLst>
</a:theme>
</file>

<file path=ppt/theme/theme3.xml><?xml version="1.0" encoding="utf-8"?>
<a:theme xmlns:a="http://schemas.openxmlformats.org/drawingml/2006/main" name="Office">
  <a:themeElements>
    <a:clrScheme name="adesso_colors">
      <a:dk1>
        <a:sysClr val="windowText" lastClr="000000"/>
      </a:dk1>
      <a:lt1>
        <a:sysClr val="window" lastClr="FFFFFF"/>
      </a:lt1>
      <a:dk2>
        <a:srgbClr val="062D47"/>
      </a:dk2>
      <a:lt2>
        <a:srgbClr val="F3F2F1"/>
      </a:lt2>
      <a:accent1>
        <a:srgbClr val="006EC7"/>
      </a:accent1>
      <a:accent2>
        <a:srgbClr val="C8B600"/>
      </a:accent2>
      <a:accent3>
        <a:srgbClr val="887D75"/>
      </a:accent3>
      <a:accent4>
        <a:srgbClr val="005C9E"/>
      </a:accent4>
      <a:accent5>
        <a:srgbClr val="003D69"/>
      </a:accent5>
      <a:accent6>
        <a:srgbClr val="ACA49E"/>
      </a:accent6>
      <a:hlink>
        <a:srgbClr val="006EC7"/>
      </a:hlink>
      <a:folHlink>
        <a:srgbClr val="ACA49E"/>
      </a:folHlink>
    </a:clrScheme>
    <a:fontScheme name="adesso_font">
      <a:majorFont>
        <a:latin typeface="Open Sans Light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adesso_colors">
      <a:dk1>
        <a:sysClr val="windowText" lastClr="000000"/>
      </a:dk1>
      <a:lt1>
        <a:sysClr val="window" lastClr="FFFFFF"/>
      </a:lt1>
      <a:dk2>
        <a:srgbClr val="062D47"/>
      </a:dk2>
      <a:lt2>
        <a:srgbClr val="F3F2F1"/>
      </a:lt2>
      <a:accent1>
        <a:srgbClr val="006EC7"/>
      </a:accent1>
      <a:accent2>
        <a:srgbClr val="C8B600"/>
      </a:accent2>
      <a:accent3>
        <a:srgbClr val="887D75"/>
      </a:accent3>
      <a:accent4>
        <a:srgbClr val="005C9E"/>
      </a:accent4>
      <a:accent5>
        <a:srgbClr val="003D69"/>
      </a:accent5>
      <a:accent6>
        <a:srgbClr val="ACA49E"/>
      </a:accent6>
      <a:hlink>
        <a:srgbClr val="006EC7"/>
      </a:hlink>
      <a:folHlink>
        <a:srgbClr val="ACA49E"/>
      </a:folHlink>
    </a:clrScheme>
    <a:fontScheme name="adesso_font">
      <a:majorFont>
        <a:latin typeface="Open Sans Light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82d369d3-3d13-4ec4-9a56-c4b209de0a3c" xsi:nil="true"/>
    <lcf76f155ced4ddcb4097134ff3c332f xmlns="eb9ab639-59e4-4605-b57c-32dbc99bedec">
      <Terms xmlns="http://schemas.microsoft.com/office/infopath/2007/PartnerControls"/>
    </lcf76f155ced4ddcb4097134ff3c332f>
    <SharedWithUsers xmlns="82d369d3-3d13-4ec4-9a56-c4b209de0a3c">
      <UserInfo>
        <DisplayName>Hoffmann, Fyn</DisplayName>
        <AccountId>212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8AC6FD6A9B0464DAB05C840AA0B618D" ma:contentTypeVersion="14" ma:contentTypeDescription="Ein neues Dokument erstellen." ma:contentTypeScope="" ma:versionID="8430570215aed2b153825406b5fcb657">
  <xsd:schema xmlns:xsd="http://www.w3.org/2001/XMLSchema" xmlns:xs="http://www.w3.org/2001/XMLSchema" xmlns:p="http://schemas.microsoft.com/office/2006/metadata/properties" xmlns:ns2="eb9ab639-59e4-4605-b57c-32dbc99bedec" xmlns:ns3="82d369d3-3d13-4ec4-9a56-c4b209de0a3c" targetNamespace="http://schemas.microsoft.com/office/2006/metadata/properties" ma:root="true" ma:fieldsID="eac8e411f750aec445dd65bc939d6b51" ns2:_="" ns3:_="">
    <xsd:import namespace="eb9ab639-59e4-4605-b57c-32dbc99bedec"/>
    <xsd:import namespace="82d369d3-3d13-4ec4-9a56-c4b209de0a3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b9ab639-59e4-4605-b57c-32dbc99bede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Bildmarkierungen" ma:readOnly="false" ma:fieldId="{5cf76f15-5ced-4ddc-b409-7134ff3c332f}" ma:taxonomyMulti="true" ma:sspId="7699f302-2c19-4e45-9402-59f24fbee0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18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2d369d3-3d13-4ec4-9a56-c4b209de0a3c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8af0310e-fa0a-4ca4-acd3-ef3e68dfa5b8}" ma:internalName="TaxCatchAll" ma:showField="CatchAllData" ma:web="82d369d3-3d13-4ec4-9a56-c4b209de0a3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3E166B8-C25C-42F1-9355-7DBE76E706E4}">
  <ds:schemaRefs>
    <ds:schemaRef ds:uri="eb9ab639-59e4-4605-b57c-32dbc99bedec"/>
    <ds:schemaRef ds:uri="http://schemas.microsoft.com/office/2006/metadata/properties"/>
    <ds:schemaRef ds:uri="http://purl.org/dc/elements/1.1/"/>
    <ds:schemaRef ds:uri="http://schemas.microsoft.com/office/2006/documentManagement/types"/>
    <ds:schemaRef ds:uri="http://purl.org/dc/terms/"/>
    <ds:schemaRef ds:uri="http://schemas.microsoft.com/office/infopath/2007/PartnerControls"/>
    <ds:schemaRef ds:uri="82d369d3-3d13-4ec4-9a56-c4b209de0a3c"/>
    <ds:schemaRef ds:uri="http://www.w3.org/XML/1998/namespace"/>
    <ds:schemaRef ds:uri="http://schemas.openxmlformats.org/package/2006/metadata/core-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123D0458-1D12-42E0-9438-1D92771EBF5B}">
  <ds:schemaRefs>
    <ds:schemaRef ds:uri="82d369d3-3d13-4ec4-9a56-c4b209de0a3c"/>
    <ds:schemaRef ds:uri="eb9ab639-59e4-4605-b57c-32dbc99bede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8DDBDA70-BF3D-4426-92D2-98BE94A86F7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desso Template 2022-April-20</Template>
  <TotalTime>0</TotalTime>
  <Words>648</Words>
  <Application>Microsoft Office PowerPoint</Application>
  <PresentationFormat>Benutzerdefiniert</PresentationFormat>
  <Paragraphs>272</Paragraphs>
  <Slides>39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9</vt:i4>
      </vt:variant>
    </vt:vector>
  </HeadingPairs>
  <TitlesOfParts>
    <vt:vector size="45" baseType="lpstr">
      <vt:lpstr>Arial</vt:lpstr>
      <vt:lpstr>Open Sans</vt:lpstr>
      <vt:lpstr>Open Sans Light</vt:lpstr>
      <vt:lpstr>adesso</vt:lpstr>
      <vt:lpstr>1_adesso</vt:lpstr>
      <vt:lpstr>think-cell Folie</vt:lpstr>
      <vt:lpstr>PowerPoint-Präsentation</vt:lpstr>
      <vt:lpstr>Agenda</vt:lpstr>
      <vt:lpstr>Generelle Informationen</vt:lpstr>
      <vt:lpstr>Generelle Informationen</vt:lpstr>
      <vt:lpstr>Setup</vt:lpstr>
      <vt:lpstr>Beispiel</vt:lpstr>
      <vt:lpstr>Beispiel</vt:lpstr>
      <vt:lpstr>Beispiel</vt:lpstr>
      <vt:lpstr>Beispiel</vt:lpstr>
      <vt:lpstr>Beispiel</vt:lpstr>
      <vt:lpstr>Beispiel</vt:lpstr>
      <vt:lpstr>Beispiel</vt:lpstr>
      <vt:lpstr>Beispiel</vt:lpstr>
      <vt:lpstr>Beispiel</vt:lpstr>
      <vt:lpstr>Beispiel</vt:lpstr>
      <vt:lpstr>Beispiel</vt:lpstr>
      <vt:lpstr>Beispiel</vt:lpstr>
      <vt:lpstr>Beispiel</vt:lpstr>
      <vt:lpstr>Beispiel</vt:lpstr>
      <vt:lpstr>Beispiel</vt:lpstr>
      <vt:lpstr>Beispiel</vt:lpstr>
      <vt:lpstr>Beispiel</vt:lpstr>
      <vt:lpstr>Beispiel</vt:lpstr>
      <vt:lpstr>Beispiel</vt:lpstr>
      <vt:lpstr>Beispiel</vt:lpstr>
      <vt:lpstr>Beispiel</vt:lpstr>
      <vt:lpstr>Beispiel</vt:lpstr>
      <vt:lpstr>Beispiel</vt:lpstr>
      <vt:lpstr>Beispiel</vt:lpstr>
      <vt:lpstr>Beispiel</vt:lpstr>
      <vt:lpstr>Beispiel</vt:lpstr>
      <vt:lpstr>Beispiel</vt:lpstr>
      <vt:lpstr>Beispiel</vt:lpstr>
      <vt:lpstr>Beispiel</vt:lpstr>
      <vt:lpstr>Beispiel</vt:lpstr>
      <vt:lpstr>Kunden Anwendung</vt:lpstr>
      <vt:lpstr>Quellen</vt:lpstr>
      <vt:lpstr>Code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ylvia Orgus | i-pointing</dc:creator>
  <cp:lastModifiedBy>Schöpke, Lars Henrik</cp:lastModifiedBy>
  <cp:revision>34</cp:revision>
  <dcterms:created xsi:type="dcterms:W3CDTF">2022-04-29T15:03:05Z</dcterms:created>
  <dcterms:modified xsi:type="dcterms:W3CDTF">2024-03-04T13:19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8AC6FD6A9B0464DAB05C840AA0B618D</vt:lpwstr>
  </property>
  <property fmtid="{D5CDD505-2E9C-101B-9397-08002B2CF9AE}" pid="3" name="MediaServiceImageTags">
    <vt:lpwstr/>
  </property>
</Properties>
</file>